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5.xml" ContentType="application/vnd.openxmlformats-officedocument.theme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heme/theme7.xml" ContentType="application/vnd.openxmlformats-officedocument.theme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theme/theme8.xml" ContentType="application/vnd.openxmlformats-officedocument.theme+xml"/>
  <Override PartName="/ppt/tags/tag9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  <p:sldMasterId id="2147483747" r:id="rId3"/>
    <p:sldMasterId id="2147483775" r:id="rId4"/>
    <p:sldMasterId id="2147483803" r:id="rId5"/>
    <p:sldMasterId id="2147483830" r:id="rId6"/>
    <p:sldMasterId id="2147483858" r:id="rId7"/>
    <p:sldMasterId id="2147483886" r:id="rId8"/>
  </p:sldMasterIdLst>
  <p:notesMasterIdLst>
    <p:notesMasterId r:id="rId13"/>
  </p:notesMasterIdLst>
  <p:handoutMasterIdLst>
    <p:handoutMasterId r:id="rId14"/>
  </p:handoutMasterIdLst>
  <p:sldIdLst>
    <p:sldId id="259" r:id="rId9"/>
    <p:sldId id="422" r:id="rId10"/>
    <p:sldId id="434" r:id="rId11"/>
    <p:sldId id="431" r:id="rId12"/>
  </p:sldIdLst>
  <p:sldSz cx="12192000" cy="6858000"/>
  <p:notesSz cx="6858000" cy="9144000"/>
  <p:custDataLst>
    <p:tags r:id="rId15"/>
  </p:custDataLst>
  <p:defaultTextStyle>
    <a:defPPr>
      <a:defRPr lang="de-DE"/>
    </a:defPPr>
    <a:lvl1pPr marL="0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35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71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06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42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78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14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949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085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709">
          <p15:clr>
            <a:srgbClr val="A4A3A4"/>
          </p15:clr>
        </p15:guide>
        <p15:guide id="2" orient="horz" pos="5051">
          <p15:clr>
            <a:srgbClr val="A4A3A4"/>
          </p15:clr>
        </p15:guide>
        <p15:guide id="3" pos="4020">
          <p15:clr>
            <a:srgbClr val="A4A3A4"/>
          </p15:clr>
        </p15:guide>
        <p15:guide id="4" pos="30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g" initials="r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6262"/>
    <a:srgbClr val="00A7E7"/>
    <a:srgbClr val="707070"/>
    <a:srgbClr val="81DBFF"/>
    <a:srgbClr val="003091"/>
    <a:srgbClr val="003296"/>
    <a:srgbClr val="001E5C"/>
    <a:srgbClr val="8DC94E"/>
    <a:srgbClr val="999999"/>
    <a:srgbClr val="00AD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215" autoAdjust="0"/>
    <p:restoredTop sz="93052" autoAdjust="0"/>
  </p:normalViewPr>
  <p:slideViewPr>
    <p:cSldViewPr snapToObjects="1" showGuides="1">
      <p:cViewPr>
        <p:scale>
          <a:sx n="110" d="100"/>
          <a:sy n="110" d="100"/>
        </p:scale>
        <p:origin x="-786" y="-36"/>
      </p:cViewPr>
      <p:guideLst>
        <p:guide orient="horz" pos="2160"/>
        <p:guide pos="3840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notesViewPr>
    <p:cSldViewPr snapToObjects="1" showGuides="1">
      <p:cViewPr>
        <p:scale>
          <a:sx n="80" d="100"/>
          <a:sy n="80" d="100"/>
        </p:scale>
        <p:origin x="3978" y="600"/>
      </p:cViewPr>
      <p:guideLst>
        <p:guide orient="horz" pos="709"/>
        <p:guide orient="horz" pos="5051"/>
        <p:guide pos="4020"/>
        <p:guide pos="30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5.xml"/><Relationship Id="rId15" Type="http://schemas.openxmlformats.org/officeDocument/2006/relationships/tags" Target="tags/tag1.xml"/><Relationship Id="rId10" Type="http://schemas.openxmlformats.org/officeDocument/2006/relationships/slide" Target="slides/slide2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C6886A5-9184-4CE0-B724-7EA41F846EA5}" type="doc">
      <dgm:prSet loTypeId="urn:microsoft.com/office/officeart/2005/8/layout/cycle5" loCatId="cycle" qsTypeId="urn:microsoft.com/office/officeart/2005/8/quickstyle/simple2" qsCatId="simple" csTypeId="urn:microsoft.com/office/officeart/2005/8/colors/accent0_2" csCatId="mainScheme" phldr="1"/>
      <dgm:spPr/>
    </dgm:pt>
    <dgm:pt modelId="{66F21525-7A2E-4190-A4DE-790BA1CE0E00}">
      <dgm:prSet phldrT="[Text]" custT="1"/>
      <dgm:spPr>
        <a:solidFill>
          <a:schemeClr val="accent6"/>
        </a:solidFill>
        <a:ln>
          <a:solidFill>
            <a:srgbClr val="00ADEF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kumimoji="0" lang="ru-RU" altLang="de-DE" sz="1600" b="0" i="0" u="none" strike="noStrike" cap="none" spc="0" normalizeH="0" baseline="0" noProof="0" dirty="0" smtClean="0">
              <a:ln/>
              <a:effectLst/>
              <a:uLnTx/>
              <a:uFillTx/>
              <a:latin typeface="+mj-lt"/>
              <a:ea typeface="+mn-ea"/>
              <a:cs typeface="+mn-cs"/>
            </a:rPr>
            <a:t>1. Оценка рисков и наблюдение </a:t>
          </a:r>
          <a:endParaRPr lang="en-US" sz="1600" b="0" dirty="0">
            <a:latin typeface="+mj-lt"/>
          </a:endParaRPr>
        </a:p>
      </dgm:t>
    </dgm:pt>
    <dgm:pt modelId="{35596682-5647-4BAF-8258-E0F494618FBE}" type="parTrans" cxnId="{25219FC1-C8C7-424C-9262-17D19C9E74D6}">
      <dgm:prSet/>
      <dgm:spPr/>
      <dgm:t>
        <a:bodyPr/>
        <a:lstStyle/>
        <a:p>
          <a:endParaRPr lang="en-US"/>
        </a:p>
      </dgm:t>
    </dgm:pt>
    <dgm:pt modelId="{0DCF450A-A5EA-400B-B32E-464810A5640A}" type="sibTrans" cxnId="{25219FC1-C8C7-424C-9262-17D19C9E74D6}">
      <dgm:prSet/>
      <dgm:spPr/>
      <dgm:t>
        <a:bodyPr/>
        <a:lstStyle/>
        <a:p>
          <a:endParaRPr lang="en-US"/>
        </a:p>
      </dgm:t>
    </dgm:pt>
    <dgm:pt modelId="{DCDCC461-3441-4A7F-907F-4E0725835F82}">
      <dgm:prSet phldrT="[Text]" custT="1"/>
      <dgm:spPr>
        <a:solidFill>
          <a:srgbClr val="003366"/>
        </a:solidFill>
        <a:ln>
          <a:solidFill>
            <a:srgbClr val="003366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ru-RU" sz="1600" b="0" dirty="0" smtClean="0">
              <a:solidFill>
                <a:schemeClr val="tx1"/>
              </a:solidFill>
              <a:latin typeface="+mn-lt"/>
            </a:rPr>
            <a:t>2. Правила и процессы</a:t>
          </a:r>
          <a:endParaRPr lang="en-US" sz="1600" b="0" dirty="0">
            <a:solidFill>
              <a:schemeClr val="tx1"/>
            </a:solidFill>
            <a:latin typeface="+mn-lt"/>
          </a:endParaRPr>
        </a:p>
      </dgm:t>
    </dgm:pt>
    <dgm:pt modelId="{F0C7D61E-0F5C-4862-86BF-DBCF67B3B2D8}" type="parTrans" cxnId="{63E7A44A-757B-4B06-AE21-93B56BB92440}">
      <dgm:prSet/>
      <dgm:spPr/>
      <dgm:t>
        <a:bodyPr/>
        <a:lstStyle/>
        <a:p>
          <a:endParaRPr lang="en-US"/>
        </a:p>
      </dgm:t>
    </dgm:pt>
    <dgm:pt modelId="{251F0676-4B46-47C7-BDC2-0CABD0FCAC72}" type="sibTrans" cxnId="{63E7A44A-757B-4B06-AE21-93B56BB92440}">
      <dgm:prSet/>
      <dgm:spPr/>
      <dgm:t>
        <a:bodyPr/>
        <a:lstStyle/>
        <a:p>
          <a:endParaRPr lang="en-US"/>
        </a:p>
      </dgm:t>
    </dgm:pt>
    <dgm:pt modelId="{2B704BCD-39D4-444F-9015-856AF5C15CD8}">
      <dgm:prSet phldrT="[Text]" custT="1"/>
      <dgm:spPr>
        <a:solidFill>
          <a:srgbClr val="00ADEF"/>
        </a:solidFill>
        <a:ln>
          <a:solidFill>
            <a:srgbClr val="00ADEF"/>
          </a:solidFill>
        </a:ln>
        <a:scene3d>
          <a:camera prst="orthographicFront"/>
          <a:lightRig rig="threePt" dir="t"/>
        </a:scene3d>
        <a:sp3d>
          <a:bevelT/>
          <a:bevelB/>
        </a:sp3d>
      </dgm:spPr>
      <dgm:t>
        <a:bodyPr/>
        <a:lstStyle/>
        <a:p>
          <a:r>
            <a:rPr kumimoji="0" lang="ru-RU" altLang="de-DE" sz="1600" b="0" i="0" u="none" strike="noStrike" cap="none" spc="0" normalizeH="0" baseline="0" noProof="0" dirty="0" smtClean="0">
              <a:ln/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rPr>
            <a:t>5. Контроли, ответственность</a:t>
          </a:r>
          <a:endParaRPr lang="en-US" sz="1600" b="0" dirty="0">
            <a:solidFill>
              <a:schemeClr val="tx1"/>
            </a:solidFill>
            <a:latin typeface="+mj-lt"/>
          </a:endParaRPr>
        </a:p>
      </dgm:t>
    </dgm:pt>
    <dgm:pt modelId="{1E06FAA1-D2C0-4FAF-83E4-19B81B2B85DC}" type="parTrans" cxnId="{D5A47B90-DF9F-4FBE-8FF5-E94211C9D0A1}">
      <dgm:prSet/>
      <dgm:spPr/>
      <dgm:t>
        <a:bodyPr/>
        <a:lstStyle/>
        <a:p>
          <a:endParaRPr lang="en-US"/>
        </a:p>
      </dgm:t>
    </dgm:pt>
    <dgm:pt modelId="{1CA4345E-480C-4555-9106-30E5D058BA56}" type="sibTrans" cxnId="{D5A47B90-DF9F-4FBE-8FF5-E94211C9D0A1}">
      <dgm:prSet/>
      <dgm:spPr/>
      <dgm:t>
        <a:bodyPr/>
        <a:lstStyle/>
        <a:p>
          <a:endParaRPr lang="en-US"/>
        </a:p>
      </dgm:t>
    </dgm:pt>
    <dgm:pt modelId="{C0A74AE4-118D-4D13-B5F8-3A1D853960E6}">
      <dgm:prSet phldrT="[Text]" custT="1"/>
      <dgm:spPr>
        <a:solidFill>
          <a:srgbClr val="9E9E9E"/>
        </a:solidFill>
        <a:ln>
          <a:solidFill>
            <a:srgbClr val="9E9E9E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kumimoji="0" lang="ru-RU" altLang="de-DE" sz="1600" b="0" i="0" u="none" strike="noStrike" cap="none" spc="0" normalizeH="0" baseline="0" noProof="0" dirty="0" smtClean="0">
              <a:ln/>
              <a:solidFill>
                <a:srgbClr val="003366"/>
              </a:solidFill>
              <a:effectLst/>
              <a:uLnTx/>
              <a:uFillTx/>
              <a:latin typeface="+mj-lt"/>
              <a:ea typeface="+mn-ea"/>
              <a:cs typeface="+mn-cs"/>
            </a:rPr>
            <a:t>6. Роль руководства</a:t>
          </a:r>
          <a:endParaRPr lang="en-US" sz="1600" b="0" dirty="0">
            <a:solidFill>
              <a:srgbClr val="003366"/>
            </a:solidFill>
            <a:latin typeface="+mj-lt"/>
          </a:endParaRPr>
        </a:p>
      </dgm:t>
    </dgm:pt>
    <dgm:pt modelId="{7E1F6A44-42DC-42BF-B6DE-D8C1EC05A91E}" type="parTrans" cxnId="{ACA2EA63-A110-4CD5-8CC0-1921CD9CF22C}">
      <dgm:prSet/>
      <dgm:spPr/>
      <dgm:t>
        <a:bodyPr/>
        <a:lstStyle/>
        <a:p>
          <a:endParaRPr lang="en-US"/>
        </a:p>
      </dgm:t>
    </dgm:pt>
    <dgm:pt modelId="{B1A2E441-FFB7-425A-9F01-30E16D1F2A74}" type="sibTrans" cxnId="{ACA2EA63-A110-4CD5-8CC0-1921CD9CF22C}">
      <dgm:prSet/>
      <dgm:spPr/>
      <dgm:t>
        <a:bodyPr/>
        <a:lstStyle/>
        <a:p>
          <a:endParaRPr lang="en-US"/>
        </a:p>
      </dgm:t>
    </dgm:pt>
    <dgm:pt modelId="{704452D4-2153-4D51-AE05-67CAAEE96921}">
      <dgm:prSet phldrT="[Text]" custT="1"/>
      <dgm:spPr>
        <a:solidFill>
          <a:srgbClr val="9E9E9E"/>
        </a:solidFill>
        <a:ln>
          <a:solidFill>
            <a:srgbClr val="9E9E9E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kumimoji="0" lang="ru-RU" altLang="de-DE" sz="1600" b="0" i="0" u="none" strike="noStrike" cap="none" spc="0" normalizeH="0" baseline="0" noProof="0" dirty="0" smtClean="0">
              <a:ln/>
              <a:solidFill>
                <a:srgbClr val="263F6A"/>
              </a:solidFill>
              <a:effectLst/>
              <a:uLnTx/>
              <a:uFillTx/>
              <a:latin typeface="+mj-lt"/>
              <a:ea typeface="+mn-ea"/>
              <a:cs typeface="+mn-cs"/>
            </a:rPr>
            <a:t>3. Тренинги, коммуникация</a:t>
          </a:r>
          <a:endParaRPr lang="en-US" sz="1600" b="0" dirty="0">
            <a:solidFill>
              <a:srgbClr val="263F6A"/>
            </a:solidFill>
            <a:latin typeface="+mj-lt"/>
          </a:endParaRPr>
        </a:p>
      </dgm:t>
    </dgm:pt>
    <dgm:pt modelId="{5850B2A7-1244-4159-99C5-EECD7C8A16BA}" type="parTrans" cxnId="{C192DA15-23DE-43EA-ACA9-1932621D0ECF}">
      <dgm:prSet/>
      <dgm:spPr/>
      <dgm:t>
        <a:bodyPr/>
        <a:lstStyle/>
        <a:p>
          <a:endParaRPr lang="en-US"/>
        </a:p>
      </dgm:t>
    </dgm:pt>
    <dgm:pt modelId="{1DFE47CF-2368-4A8B-95A2-1DB5464295AD}" type="sibTrans" cxnId="{C192DA15-23DE-43EA-ACA9-1932621D0ECF}">
      <dgm:prSet/>
      <dgm:spPr/>
      <dgm:t>
        <a:bodyPr/>
        <a:lstStyle/>
        <a:p>
          <a:endParaRPr lang="en-US"/>
        </a:p>
      </dgm:t>
    </dgm:pt>
    <dgm:pt modelId="{59EE48BA-C66D-4E04-95C0-F03E2C26E8F4}">
      <dgm:prSet phldrT="[Text]" custT="1"/>
      <dgm:spPr>
        <a:solidFill>
          <a:srgbClr val="0082E6"/>
        </a:solidFill>
        <a:ln>
          <a:solidFill>
            <a:srgbClr val="0082E6"/>
          </a:solidFill>
        </a:ln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kumimoji="0" lang="ru-RU" sz="1600" b="0" i="0" u="none" strike="noStrike" cap="none" spc="0" normalizeH="0" baseline="0" noProof="0" dirty="0" smtClean="0">
              <a:ln/>
              <a:solidFill>
                <a:srgbClr val="263F6A"/>
              </a:solidFill>
              <a:effectLst/>
              <a:uLnTx/>
              <a:uFillTx/>
              <a:latin typeface="+mj-lt"/>
              <a:ea typeface="+mn-ea"/>
              <a:cs typeface="+mn-cs"/>
            </a:rPr>
            <a:t>4. Функция </a:t>
          </a:r>
          <a:r>
            <a:rPr kumimoji="0" lang="ru-RU" sz="1600" b="0" i="0" u="none" strike="noStrike" cap="none" spc="0" normalizeH="0" baseline="0" noProof="0" dirty="0" err="1" smtClean="0">
              <a:ln/>
              <a:solidFill>
                <a:srgbClr val="263F6A"/>
              </a:solidFill>
              <a:effectLst/>
              <a:uLnTx/>
              <a:uFillTx/>
              <a:latin typeface="+mj-lt"/>
              <a:ea typeface="+mn-ea"/>
              <a:cs typeface="+mn-cs"/>
            </a:rPr>
            <a:t>комплаенс</a:t>
          </a:r>
          <a:r>
            <a:rPr kumimoji="0" lang="ru-RU" sz="1600" b="0" i="0" u="none" strike="noStrike" cap="none" spc="0" normalizeH="0" baseline="0" noProof="0" dirty="0" smtClean="0">
              <a:ln/>
              <a:solidFill>
                <a:srgbClr val="263F6A"/>
              </a:solidFill>
              <a:effectLst/>
              <a:uLnTx/>
              <a:uFillTx/>
              <a:latin typeface="+mj-lt"/>
              <a:ea typeface="+mn-ea"/>
              <a:cs typeface="+mn-cs"/>
            </a:rPr>
            <a:t>-менеджера</a:t>
          </a:r>
          <a:endParaRPr lang="en-US" sz="1600" b="0" dirty="0">
            <a:solidFill>
              <a:srgbClr val="263F6A"/>
            </a:solidFill>
            <a:latin typeface="+mj-lt"/>
          </a:endParaRPr>
        </a:p>
      </dgm:t>
    </dgm:pt>
    <dgm:pt modelId="{40DD2DB0-DE94-4E54-91A9-8998FD841855}" type="parTrans" cxnId="{FD207850-6BC1-431D-80C1-FEC7D7AFADEF}">
      <dgm:prSet/>
      <dgm:spPr/>
      <dgm:t>
        <a:bodyPr/>
        <a:lstStyle/>
        <a:p>
          <a:endParaRPr lang="en-US"/>
        </a:p>
      </dgm:t>
    </dgm:pt>
    <dgm:pt modelId="{D481A0EA-B454-40F3-ACDA-CE27B2A2AD4A}" type="sibTrans" cxnId="{FD207850-6BC1-431D-80C1-FEC7D7AFADEF}">
      <dgm:prSet/>
      <dgm:spPr/>
      <dgm:t>
        <a:bodyPr/>
        <a:lstStyle/>
        <a:p>
          <a:endParaRPr lang="en-US"/>
        </a:p>
      </dgm:t>
    </dgm:pt>
    <dgm:pt modelId="{B7D4CE6F-B09E-41E6-B8FE-3436C0DA5218}" type="pres">
      <dgm:prSet presAssocID="{4C6886A5-9184-4CE0-B724-7EA41F846EA5}" presName="cycle" presStyleCnt="0">
        <dgm:presLayoutVars>
          <dgm:dir/>
          <dgm:resizeHandles val="exact"/>
        </dgm:presLayoutVars>
      </dgm:prSet>
      <dgm:spPr/>
    </dgm:pt>
    <dgm:pt modelId="{E49D4560-1DA6-448B-9A83-ECAD92E5DD17}" type="pres">
      <dgm:prSet presAssocID="{66F21525-7A2E-4190-A4DE-790BA1CE0E00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D582F47-3938-4DED-A70E-A3461951928F}" type="pres">
      <dgm:prSet presAssocID="{66F21525-7A2E-4190-A4DE-790BA1CE0E00}" presName="spNode" presStyleCnt="0"/>
      <dgm:spPr/>
    </dgm:pt>
    <dgm:pt modelId="{0B31EE2F-C703-4774-B591-C3B4484206AA}" type="pres">
      <dgm:prSet presAssocID="{0DCF450A-A5EA-400B-B32E-464810A5640A}" presName="sibTrans" presStyleLbl="sibTrans1D1" presStyleIdx="0" presStyleCnt="6"/>
      <dgm:spPr/>
      <dgm:t>
        <a:bodyPr/>
        <a:lstStyle/>
        <a:p>
          <a:endParaRPr lang="ru-RU"/>
        </a:p>
      </dgm:t>
    </dgm:pt>
    <dgm:pt modelId="{5633F04A-46F4-4815-B14F-4AD3D1FA3203}" type="pres">
      <dgm:prSet presAssocID="{DCDCC461-3441-4A7F-907F-4E0725835F82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6019E53-C743-4A14-8493-4ACDB979A3DD}" type="pres">
      <dgm:prSet presAssocID="{DCDCC461-3441-4A7F-907F-4E0725835F82}" presName="spNode" presStyleCnt="0"/>
      <dgm:spPr/>
    </dgm:pt>
    <dgm:pt modelId="{2FF04348-0306-4B5C-BFFA-59FC839CEBFA}" type="pres">
      <dgm:prSet presAssocID="{251F0676-4B46-47C7-BDC2-0CABD0FCAC72}" presName="sibTrans" presStyleLbl="sibTrans1D1" presStyleIdx="1" presStyleCnt="6"/>
      <dgm:spPr/>
      <dgm:t>
        <a:bodyPr/>
        <a:lstStyle/>
        <a:p>
          <a:endParaRPr lang="ru-RU"/>
        </a:p>
      </dgm:t>
    </dgm:pt>
    <dgm:pt modelId="{F9594891-08F9-4FA7-9061-479D6CFC1310}" type="pres">
      <dgm:prSet presAssocID="{704452D4-2153-4D51-AE05-67CAAEE96921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9C3CAEF-3EE0-4C7F-9233-0C2D68A929F9}" type="pres">
      <dgm:prSet presAssocID="{704452D4-2153-4D51-AE05-67CAAEE96921}" presName="spNode" presStyleCnt="0"/>
      <dgm:spPr/>
    </dgm:pt>
    <dgm:pt modelId="{5341472E-4E2B-4A73-B3AE-6F0708829056}" type="pres">
      <dgm:prSet presAssocID="{1DFE47CF-2368-4A8B-95A2-1DB5464295AD}" presName="sibTrans" presStyleLbl="sibTrans1D1" presStyleIdx="2" presStyleCnt="6"/>
      <dgm:spPr/>
      <dgm:t>
        <a:bodyPr/>
        <a:lstStyle/>
        <a:p>
          <a:endParaRPr lang="ru-RU"/>
        </a:p>
      </dgm:t>
    </dgm:pt>
    <dgm:pt modelId="{D7987AEC-5782-4D96-A009-06E31B3C1E9A}" type="pres">
      <dgm:prSet presAssocID="{59EE48BA-C66D-4E04-95C0-F03E2C26E8F4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569D7D9-A391-4C34-9141-617988748F0C}" type="pres">
      <dgm:prSet presAssocID="{59EE48BA-C66D-4E04-95C0-F03E2C26E8F4}" presName="spNode" presStyleCnt="0"/>
      <dgm:spPr/>
    </dgm:pt>
    <dgm:pt modelId="{0F780AA1-DDD1-4C73-91C8-3151D69AF32B}" type="pres">
      <dgm:prSet presAssocID="{D481A0EA-B454-40F3-ACDA-CE27B2A2AD4A}" presName="sibTrans" presStyleLbl="sibTrans1D1" presStyleIdx="3" presStyleCnt="6"/>
      <dgm:spPr/>
      <dgm:t>
        <a:bodyPr/>
        <a:lstStyle/>
        <a:p>
          <a:endParaRPr lang="ru-RU"/>
        </a:p>
      </dgm:t>
    </dgm:pt>
    <dgm:pt modelId="{A11F3169-2D7F-4913-864C-05D43CEFF2A2}" type="pres">
      <dgm:prSet presAssocID="{2B704BCD-39D4-444F-9015-856AF5C15CD8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8E7BE52-503C-452B-A536-19539067A607}" type="pres">
      <dgm:prSet presAssocID="{2B704BCD-39D4-444F-9015-856AF5C15CD8}" presName="spNode" presStyleCnt="0"/>
      <dgm:spPr/>
    </dgm:pt>
    <dgm:pt modelId="{D8ABE861-0F1F-4447-BF92-73B70B4FA1E4}" type="pres">
      <dgm:prSet presAssocID="{1CA4345E-480C-4555-9106-30E5D058BA56}" presName="sibTrans" presStyleLbl="sibTrans1D1" presStyleIdx="4" presStyleCnt="6"/>
      <dgm:spPr/>
      <dgm:t>
        <a:bodyPr/>
        <a:lstStyle/>
        <a:p>
          <a:endParaRPr lang="ru-RU"/>
        </a:p>
      </dgm:t>
    </dgm:pt>
    <dgm:pt modelId="{8341E0D4-37A8-4A10-98C4-65967977CBCC}" type="pres">
      <dgm:prSet presAssocID="{C0A74AE4-118D-4D13-B5F8-3A1D853960E6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B735621-2719-41F5-A4E6-3E9BBABAF5C0}" type="pres">
      <dgm:prSet presAssocID="{C0A74AE4-118D-4D13-B5F8-3A1D853960E6}" presName="spNode" presStyleCnt="0"/>
      <dgm:spPr/>
    </dgm:pt>
    <dgm:pt modelId="{CCE18275-390D-483C-9D9A-547DFA40BB60}" type="pres">
      <dgm:prSet presAssocID="{B1A2E441-FFB7-425A-9F01-30E16D1F2A74}" presName="sibTrans" presStyleLbl="sibTrans1D1" presStyleIdx="5" presStyleCnt="6"/>
      <dgm:spPr/>
      <dgm:t>
        <a:bodyPr/>
        <a:lstStyle/>
        <a:p>
          <a:endParaRPr lang="ru-RU"/>
        </a:p>
      </dgm:t>
    </dgm:pt>
  </dgm:ptLst>
  <dgm:cxnLst>
    <dgm:cxn modelId="{C192DA15-23DE-43EA-ACA9-1932621D0ECF}" srcId="{4C6886A5-9184-4CE0-B724-7EA41F846EA5}" destId="{704452D4-2153-4D51-AE05-67CAAEE96921}" srcOrd="2" destOrd="0" parTransId="{5850B2A7-1244-4159-99C5-EECD7C8A16BA}" sibTransId="{1DFE47CF-2368-4A8B-95A2-1DB5464295AD}"/>
    <dgm:cxn modelId="{EC714675-994A-4135-A583-1A0F1269A36D}" type="presOf" srcId="{4C6886A5-9184-4CE0-B724-7EA41F846EA5}" destId="{B7D4CE6F-B09E-41E6-B8FE-3436C0DA5218}" srcOrd="0" destOrd="0" presId="urn:microsoft.com/office/officeart/2005/8/layout/cycle5"/>
    <dgm:cxn modelId="{94AAE0B7-7E02-437C-96DE-4928A3BB9CAE}" type="presOf" srcId="{2B704BCD-39D4-444F-9015-856AF5C15CD8}" destId="{A11F3169-2D7F-4913-864C-05D43CEFF2A2}" srcOrd="0" destOrd="0" presId="urn:microsoft.com/office/officeart/2005/8/layout/cycle5"/>
    <dgm:cxn modelId="{48B2D0F3-E444-4DD0-83C4-17E6FB130DF9}" type="presOf" srcId="{C0A74AE4-118D-4D13-B5F8-3A1D853960E6}" destId="{8341E0D4-37A8-4A10-98C4-65967977CBCC}" srcOrd="0" destOrd="0" presId="urn:microsoft.com/office/officeart/2005/8/layout/cycle5"/>
    <dgm:cxn modelId="{63E7A44A-757B-4B06-AE21-93B56BB92440}" srcId="{4C6886A5-9184-4CE0-B724-7EA41F846EA5}" destId="{DCDCC461-3441-4A7F-907F-4E0725835F82}" srcOrd="1" destOrd="0" parTransId="{F0C7D61E-0F5C-4862-86BF-DBCF67B3B2D8}" sibTransId="{251F0676-4B46-47C7-BDC2-0CABD0FCAC72}"/>
    <dgm:cxn modelId="{FD207850-6BC1-431D-80C1-FEC7D7AFADEF}" srcId="{4C6886A5-9184-4CE0-B724-7EA41F846EA5}" destId="{59EE48BA-C66D-4E04-95C0-F03E2C26E8F4}" srcOrd="3" destOrd="0" parTransId="{40DD2DB0-DE94-4E54-91A9-8998FD841855}" sibTransId="{D481A0EA-B454-40F3-ACDA-CE27B2A2AD4A}"/>
    <dgm:cxn modelId="{BCD33E12-F5F2-4DB6-947E-268CDFF41D60}" type="presOf" srcId="{DCDCC461-3441-4A7F-907F-4E0725835F82}" destId="{5633F04A-46F4-4815-B14F-4AD3D1FA3203}" srcOrd="0" destOrd="0" presId="urn:microsoft.com/office/officeart/2005/8/layout/cycle5"/>
    <dgm:cxn modelId="{D5A47B90-DF9F-4FBE-8FF5-E94211C9D0A1}" srcId="{4C6886A5-9184-4CE0-B724-7EA41F846EA5}" destId="{2B704BCD-39D4-444F-9015-856AF5C15CD8}" srcOrd="4" destOrd="0" parTransId="{1E06FAA1-D2C0-4FAF-83E4-19B81B2B85DC}" sibTransId="{1CA4345E-480C-4555-9106-30E5D058BA56}"/>
    <dgm:cxn modelId="{25219FC1-C8C7-424C-9262-17D19C9E74D6}" srcId="{4C6886A5-9184-4CE0-B724-7EA41F846EA5}" destId="{66F21525-7A2E-4190-A4DE-790BA1CE0E00}" srcOrd="0" destOrd="0" parTransId="{35596682-5647-4BAF-8258-E0F494618FBE}" sibTransId="{0DCF450A-A5EA-400B-B32E-464810A5640A}"/>
    <dgm:cxn modelId="{C0FCE083-F508-4EC6-B901-773C8D2F44DE}" type="presOf" srcId="{1CA4345E-480C-4555-9106-30E5D058BA56}" destId="{D8ABE861-0F1F-4447-BF92-73B70B4FA1E4}" srcOrd="0" destOrd="0" presId="urn:microsoft.com/office/officeart/2005/8/layout/cycle5"/>
    <dgm:cxn modelId="{42251CEC-0CBC-446B-B9D4-B1599E6E88B4}" type="presOf" srcId="{B1A2E441-FFB7-425A-9F01-30E16D1F2A74}" destId="{CCE18275-390D-483C-9D9A-547DFA40BB60}" srcOrd="0" destOrd="0" presId="urn:microsoft.com/office/officeart/2005/8/layout/cycle5"/>
    <dgm:cxn modelId="{CAB5EE34-C252-498D-8F91-E1932DBE16F3}" type="presOf" srcId="{251F0676-4B46-47C7-BDC2-0CABD0FCAC72}" destId="{2FF04348-0306-4B5C-BFFA-59FC839CEBFA}" srcOrd="0" destOrd="0" presId="urn:microsoft.com/office/officeart/2005/8/layout/cycle5"/>
    <dgm:cxn modelId="{9C81CED8-604A-475B-ACD7-F9293DB85946}" type="presOf" srcId="{0DCF450A-A5EA-400B-B32E-464810A5640A}" destId="{0B31EE2F-C703-4774-B591-C3B4484206AA}" srcOrd="0" destOrd="0" presId="urn:microsoft.com/office/officeart/2005/8/layout/cycle5"/>
    <dgm:cxn modelId="{A29C83DE-461C-4D0B-BBD8-DC32E6F97F60}" type="presOf" srcId="{66F21525-7A2E-4190-A4DE-790BA1CE0E00}" destId="{E49D4560-1DA6-448B-9A83-ECAD92E5DD17}" srcOrd="0" destOrd="0" presId="urn:microsoft.com/office/officeart/2005/8/layout/cycle5"/>
    <dgm:cxn modelId="{ACA2EA63-A110-4CD5-8CC0-1921CD9CF22C}" srcId="{4C6886A5-9184-4CE0-B724-7EA41F846EA5}" destId="{C0A74AE4-118D-4D13-B5F8-3A1D853960E6}" srcOrd="5" destOrd="0" parTransId="{7E1F6A44-42DC-42BF-B6DE-D8C1EC05A91E}" sibTransId="{B1A2E441-FFB7-425A-9F01-30E16D1F2A74}"/>
    <dgm:cxn modelId="{AEE51D88-974C-4A59-92C9-A12756964D83}" type="presOf" srcId="{D481A0EA-B454-40F3-ACDA-CE27B2A2AD4A}" destId="{0F780AA1-DDD1-4C73-91C8-3151D69AF32B}" srcOrd="0" destOrd="0" presId="urn:microsoft.com/office/officeart/2005/8/layout/cycle5"/>
    <dgm:cxn modelId="{836B41B7-D886-4191-AC6A-4D0ABF5F038B}" type="presOf" srcId="{1DFE47CF-2368-4A8B-95A2-1DB5464295AD}" destId="{5341472E-4E2B-4A73-B3AE-6F0708829056}" srcOrd="0" destOrd="0" presId="urn:microsoft.com/office/officeart/2005/8/layout/cycle5"/>
    <dgm:cxn modelId="{4508EE2E-DF59-4CB0-9207-E59571C48D25}" type="presOf" srcId="{59EE48BA-C66D-4E04-95C0-F03E2C26E8F4}" destId="{D7987AEC-5782-4D96-A009-06E31B3C1E9A}" srcOrd="0" destOrd="0" presId="urn:microsoft.com/office/officeart/2005/8/layout/cycle5"/>
    <dgm:cxn modelId="{3FEE86CC-AE03-48E8-BC6E-D5E5EF4BFF36}" type="presOf" srcId="{704452D4-2153-4D51-AE05-67CAAEE96921}" destId="{F9594891-08F9-4FA7-9061-479D6CFC1310}" srcOrd="0" destOrd="0" presId="urn:microsoft.com/office/officeart/2005/8/layout/cycle5"/>
    <dgm:cxn modelId="{BC68FFA3-860A-4265-B545-6BD077F34DA7}" type="presParOf" srcId="{B7D4CE6F-B09E-41E6-B8FE-3436C0DA5218}" destId="{E49D4560-1DA6-448B-9A83-ECAD92E5DD17}" srcOrd="0" destOrd="0" presId="urn:microsoft.com/office/officeart/2005/8/layout/cycle5"/>
    <dgm:cxn modelId="{5C1D99D5-8E14-4975-A292-863CCF674FEA}" type="presParOf" srcId="{B7D4CE6F-B09E-41E6-B8FE-3436C0DA5218}" destId="{8D582F47-3938-4DED-A70E-A3461951928F}" srcOrd="1" destOrd="0" presId="urn:microsoft.com/office/officeart/2005/8/layout/cycle5"/>
    <dgm:cxn modelId="{D82A533E-BBBE-4285-8BBE-C83513A29DDB}" type="presParOf" srcId="{B7D4CE6F-B09E-41E6-B8FE-3436C0DA5218}" destId="{0B31EE2F-C703-4774-B591-C3B4484206AA}" srcOrd="2" destOrd="0" presId="urn:microsoft.com/office/officeart/2005/8/layout/cycle5"/>
    <dgm:cxn modelId="{5D8D06C7-6150-4304-9EAE-29C4F302DDD0}" type="presParOf" srcId="{B7D4CE6F-B09E-41E6-B8FE-3436C0DA5218}" destId="{5633F04A-46F4-4815-B14F-4AD3D1FA3203}" srcOrd="3" destOrd="0" presId="urn:microsoft.com/office/officeart/2005/8/layout/cycle5"/>
    <dgm:cxn modelId="{152741E6-2232-42CB-82E2-9B5E65A5041F}" type="presParOf" srcId="{B7D4CE6F-B09E-41E6-B8FE-3436C0DA5218}" destId="{46019E53-C743-4A14-8493-4ACDB979A3DD}" srcOrd="4" destOrd="0" presId="urn:microsoft.com/office/officeart/2005/8/layout/cycle5"/>
    <dgm:cxn modelId="{377C501B-D449-4C46-BCFC-DB26ADBD7AE4}" type="presParOf" srcId="{B7D4CE6F-B09E-41E6-B8FE-3436C0DA5218}" destId="{2FF04348-0306-4B5C-BFFA-59FC839CEBFA}" srcOrd="5" destOrd="0" presId="urn:microsoft.com/office/officeart/2005/8/layout/cycle5"/>
    <dgm:cxn modelId="{6A40BA61-31AA-45F9-BF33-3BA41509B3FC}" type="presParOf" srcId="{B7D4CE6F-B09E-41E6-B8FE-3436C0DA5218}" destId="{F9594891-08F9-4FA7-9061-479D6CFC1310}" srcOrd="6" destOrd="0" presId="urn:microsoft.com/office/officeart/2005/8/layout/cycle5"/>
    <dgm:cxn modelId="{9A61E8D6-416B-480A-9AE5-F59AD64B4811}" type="presParOf" srcId="{B7D4CE6F-B09E-41E6-B8FE-3436C0DA5218}" destId="{29C3CAEF-3EE0-4C7F-9233-0C2D68A929F9}" srcOrd="7" destOrd="0" presId="urn:microsoft.com/office/officeart/2005/8/layout/cycle5"/>
    <dgm:cxn modelId="{B71E4FE9-D880-4AC3-9394-2B334021D3B3}" type="presParOf" srcId="{B7D4CE6F-B09E-41E6-B8FE-3436C0DA5218}" destId="{5341472E-4E2B-4A73-B3AE-6F0708829056}" srcOrd="8" destOrd="0" presId="urn:microsoft.com/office/officeart/2005/8/layout/cycle5"/>
    <dgm:cxn modelId="{56F75D71-6727-4FE1-9CC6-3F0AFC422B3A}" type="presParOf" srcId="{B7D4CE6F-B09E-41E6-B8FE-3436C0DA5218}" destId="{D7987AEC-5782-4D96-A009-06E31B3C1E9A}" srcOrd="9" destOrd="0" presId="urn:microsoft.com/office/officeart/2005/8/layout/cycle5"/>
    <dgm:cxn modelId="{65BEF09A-3D4E-41AE-B27A-7E55E50E8D12}" type="presParOf" srcId="{B7D4CE6F-B09E-41E6-B8FE-3436C0DA5218}" destId="{9569D7D9-A391-4C34-9141-617988748F0C}" srcOrd="10" destOrd="0" presId="urn:microsoft.com/office/officeart/2005/8/layout/cycle5"/>
    <dgm:cxn modelId="{4A850FBC-DA37-42F8-8603-8808373191F1}" type="presParOf" srcId="{B7D4CE6F-B09E-41E6-B8FE-3436C0DA5218}" destId="{0F780AA1-DDD1-4C73-91C8-3151D69AF32B}" srcOrd="11" destOrd="0" presId="urn:microsoft.com/office/officeart/2005/8/layout/cycle5"/>
    <dgm:cxn modelId="{692B4B98-47A7-4112-AAA6-6AE247F83D85}" type="presParOf" srcId="{B7D4CE6F-B09E-41E6-B8FE-3436C0DA5218}" destId="{A11F3169-2D7F-4913-864C-05D43CEFF2A2}" srcOrd="12" destOrd="0" presId="urn:microsoft.com/office/officeart/2005/8/layout/cycle5"/>
    <dgm:cxn modelId="{8F2989E5-3891-490F-86F0-6C067BE36F06}" type="presParOf" srcId="{B7D4CE6F-B09E-41E6-B8FE-3436C0DA5218}" destId="{B8E7BE52-503C-452B-A536-19539067A607}" srcOrd="13" destOrd="0" presId="urn:microsoft.com/office/officeart/2005/8/layout/cycle5"/>
    <dgm:cxn modelId="{24C256F0-310A-4DAC-8586-F59CE65E18CA}" type="presParOf" srcId="{B7D4CE6F-B09E-41E6-B8FE-3436C0DA5218}" destId="{D8ABE861-0F1F-4447-BF92-73B70B4FA1E4}" srcOrd="14" destOrd="0" presId="urn:microsoft.com/office/officeart/2005/8/layout/cycle5"/>
    <dgm:cxn modelId="{28134281-781A-4B8E-9BF3-4CAA80B974F3}" type="presParOf" srcId="{B7D4CE6F-B09E-41E6-B8FE-3436C0DA5218}" destId="{8341E0D4-37A8-4A10-98C4-65967977CBCC}" srcOrd="15" destOrd="0" presId="urn:microsoft.com/office/officeart/2005/8/layout/cycle5"/>
    <dgm:cxn modelId="{414B3E22-E98B-47E3-B8BC-B383E9989C96}" type="presParOf" srcId="{B7D4CE6F-B09E-41E6-B8FE-3436C0DA5218}" destId="{1B735621-2719-41F5-A4E6-3E9BBABAF5C0}" srcOrd="16" destOrd="0" presId="urn:microsoft.com/office/officeart/2005/8/layout/cycle5"/>
    <dgm:cxn modelId="{A2EE2099-797A-4575-A45A-4FBF840BB90B}" type="presParOf" srcId="{B7D4CE6F-B09E-41E6-B8FE-3436C0DA5218}" destId="{CCE18275-390D-483C-9D9A-547DFA40BB60}" srcOrd="17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C7BE6DC-542F-485F-8F8E-BE69E0C62496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2A98FFA-17D7-4EF4-83EA-299A94FA422C}">
      <dgm:prSet phldrT="[Text]"/>
      <dgm:spPr/>
      <dgm:t>
        <a:bodyPr/>
        <a:lstStyle/>
        <a:p>
          <a:endParaRPr lang="ru-RU" dirty="0" smtClean="0"/>
        </a:p>
        <a:p>
          <a:r>
            <a:rPr lang="ru-RU" dirty="0" smtClean="0"/>
            <a:t>Система антимонопольного </a:t>
          </a:r>
          <a:r>
            <a:rPr lang="ru-RU" dirty="0" err="1" smtClean="0"/>
            <a:t>комплаенс</a:t>
          </a:r>
          <a:r>
            <a:rPr lang="ru-RU" dirty="0" smtClean="0"/>
            <a:t> компании «Мерседес-</a:t>
          </a:r>
          <a:r>
            <a:rPr lang="ru-RU" dirty="0" err="1" smtClean="0"/>
            <a:t>Бенц</a:t>
          </a:r>
          <a:r>
            <a:rPr lang="ru-RU" dirty="0" smtClean="0"/>
            <a:t> РУС» </a:t>
          </a:r>
        </a:p>
        <a:p>
          <a:r>
            <a:rPr lang="ru-RU" dirty="0" smtClean="0">
              <a:solidFill>
                <a:srgbClr val="00ADEF"/>
              </a:solidFill>
            </a:rPr>
            <a:t>(«</a:t>
          </a:r>
          <a:r>
            <a:rPr lang="ru-RU" dirty="0" err="1" smtClean="0">
              <a:solidFill>
                <a:srgbClr val="00ADEF"/>
              </a:solidFill>
            </a:rPr>
            <a:t>Даймлер</a:t>
          </a:r>
          <a:r>
            <a:rPr lang="ru-RU" dirty="0" smtClean="0">
              <a:solidFill>
                <a:srgbClr val="00ADEF"/>
              </a:solidFill>
            </a:rPr>
            <a:t> АГ»)</a:t>
          </a:r>
          <a:endParaRPr lang="ru-RU" dirty="0">
            <a:solidFill>
              <a:srgbClr val="00ADEF"/>
            </a:solidFill>
          </a:endParaRPr>
        </a:p>
      </dgm:t>
    </dgm:pt>
    <dgm:pt modelId="{512ABF34-BB4A-4F14-88F2-A1080A9EFA59}" type="parTrans" cxnId="{F0300156-40B4-4058-A658-1B5D6B9DA08D}">
      <dgm:prSet/>
      <dgm:spPr/>
      <dgm:t>
        <a:bodyPr/>
        <a:lstStyle/>
        <a:p>
          <a:endParaRPr lang="ru-RU"/>
        </a:p>
      </dgm:t>
    </dgm:pt>
    <dgm:pt modelId="{1E68EE46-ECB1-4A58-A147-25C93E8C4EF3}" type="sibTrans" cxnId="{F0300156-40B4-4058-A658-1B5D6B9DA08D}">
      <dgm:prSet/>
      <dgm:spPr/>
      <dgm:t>
        <a:bodyPr/>
        <a:lstStyle/>
        <a:p>
          <a:endParaRPr lang="ru-RU"/>
        </a:p>
      </dgm:t>
    </dgm:pt>
    <dgm:pt modelId="{E40D146F-8382-4AA4-A9D2-6DB86514AC4B}">
      <dgm:prSet phldrT="[Text]"/>
      <dgm:spPr/>
      <dgm:t>
        <a:bodyPr/>
        <a:lstStyle/>
        <a:p>
          <a:endParaRPr lang="ru-RU" dirty="0"/>
        </a:p>
      </dgm:t>
    </dgm:pt>
    <dgm:pt modelId="{2474B65C-AB17-4CD6-B660-89CED4C4A530}" type="sibTrans" cxnId="{77BDB4E4-ADCE-43FA-A1DE-7C202F4799AE}">
      <dgm:prSet/>
      <dgm:spPr/>
      <dgm:t>
        <a:bodyPr/>
        <a:lstStyle/>
        <a:p>
          <a:endParaRPr lang="ru-RU"/>
        </a:p>
      </dgm:t>
    </dgm:pt>
    <dgm:pt modelId="{90F2516C-BEC5-4EEE-94F7-48EFDE73CC3E}" type="parTrans" cxnId="{77BDB4E4-ADCE-43FA-A1DE-7C202F4799AE}">
      <dgm:prSet/>
      <dgm:spPr/>
      <dgm:t>
        <a:bodyPr/>
        <a:lstStyle/>
        <a:p>
          <a:endParaRPr lang="ru-RU"/>
        </a:p>
      </dgm:t>
    </dgm:pt>
    <dgm:pt modelId="{440B31A5-88BC-4C30-80CE-9A8C3F8E37BA}" type="pres">
      <dgm:prSet presAssocID="{AC7BE6DC-542F-485F-8F8E-BE69E0C62496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5CC0BDC9-96F3-4DC0-B493-637A2BFBDD8A}" type="pres">
      <dgm:prSet presAssocID="{E40D146F-8382-4AA4-A9D2-6DB86514AC4B}" presName="thickLine" presStyleLbl="alignNode1" presStyleIdx="0" presStyleCnt="1"/>
      <dgm:spPr/>
      <dgm:t>
        <a:bodyPr/>
        <a:lstStyle/>
        <a:p>
          <a:endParaRPr lang="ru-RU"/>
        </a:p>
      </dgm:t>
    </dgm:pt>
    <dgm:pt modelId="{7C416EB3-81EA-410B-B278-C8E7A5B85EA0}" type="pres">
      <dgm:prSet presAssocID="{E40D146F-8382-4AA4-A9D2-6DB86514AC4B}" presName="horz1" presStyleCnt="0"/>
      <dgm:spPr/>
    </dgm:pt>
    <dgm:pt modelId="{0E99CB8D-3F27-46E4-BF24-3986856F9CF8}" type="pres">
      <dgm:prSet presAssocID="{E40D146F-8382-4AA4-A9D2-6DB86514AC4B}" presName="tx1" presStyleLbl="revTx" presStyleIdx="0" presStyleCnt="2"/>
      <dgm:spPr/>
      <dgm:t>
        <a:bodyPr/>
        <a:lstStyle/>
        <a:p>
          <a:endParaRPr lang="ru-RU"/>
        </a:p>
      </dgm:t>
    </dgm:pt>
    <dgm:pt modelId="{C7FD9AB1-1CC3-402F-B379-8E355690E03A}" type="pres">
      <dgm:prSet presAssocID="{E40D146F-8382-4AA4-A9D2-6DB86514AC4B}" presName="vert1" presStyleCnt="0"/>
      <dgm:spPr/>
    </dgm:pt>
    <dgm:pt modelId="{4C9E2607-CA98-45DB-BF00-C6CC100F834F}" type="pres">
      <dgm:prSet presAssocID="{B2A98FFA-17D7-4EF4-83EA-299A94FA422C}" presName="vertSpace2a" presStyleCnt="0"/>
      <dgm:spPr/>
    </dgm:pt>
    <dgm:pt modelId="{DCEA88EA-D58B-4B45-A15A-E61655C30669}" type="pres">
      <dgm:prSet presAssocID="{B2A98FFA-17D7-4EF4-83EA-299A94FA422C}" presName="horz2" presStyleCnt="0"/>
      <dgm:spPr/>
    </dgm:pt>
    <dgm:pt modelId="{092F928A-C9EE-43F1-B42B-15E7B12D5DC6}" type="pres">
      <dgm:prSet presAssocID="{B2A98FFA-17D7-4EF4-83EA-299A94FA422C}" presName="horzSpace2" presStyleCnt="0"/>
      <dgm:spPr/>
    </dgm:pt>
    <dgm:pt modelId="{F331D372-4F30-4F3A-9125-DA8206C4CA04}" type="pres">
      <dgm:prSet presAssocID="{B2A98FFA-17D7-4EF4-83EA-299A94FA422C}" presName="tx2" presStyleLbl="revTx" presStyleIdx="1" presStyleCnt="2" custScaleX="145574"/>
      <dgm:spPr/>
      <dgm:t>
        <a:bodyPr/>
        <a:lstStyle/>
        <a:p>
          <a:endParaRPr lang="ru-RU"/>
        </a:p>
      </dgm:t>
    </dgm:pt>
    <dgm:pt modelId="{D9FAC1CA-3851-48A6-B51E-A9D87A10649A}" type="pres">
      <dgm:prSet presAssocID="{B2A98FFA-17D7-4EF4-83EA-299A94FA422C}" presName="vert2" presStyleCnt="0"/>
      <dgm:spPr/>
    </dgm:pt>
    <dgm:pt modelId="{9B865B61-F503-4BEE-B515-4BB2723B05E6}" type="pres">
      <dgm:prSet presAssocID="{B2A98FFA-17D7-4EF4-83EA-299A94FA422C}" presName="thinLine2b" presStyleLbl="callout" presStyleIdx="0" presStyleCnt="1"/>
      <dgm:spPr/>
    </dgm:pt>
    <dgm:pt modelId="{C829D16C-A620-4CA2-893F-050E34630A28}" type="pres">
      <dgm:prSet presAssocID="{B2A98FFA-17D7-4EF4-83EA-299A94FA422C}" presName="vertSpace2b" presStyleCnt="0"/>
      <dgm:spPr/>
    </dgm:pt>
  </dgm:ptLst>
  <dgm:cxnLst>
    <dgm:cxn modelId="{F0732C7E-C408-47CD-A58E-D0D9616F0135}" type="presOf" srcId="{AC7BE6DC-542F-485F-8F8E-BE69E0C62496}" destId="{440B31A5-88BC-4C30-80CE-9A8C3F8E37BA}" srcOrd="0" destOrd="0" presId="urn:microsoft.com/office/officeart/2008/layout/LinedList"/>
    <dgm:cxn modelId="{59192880-91A6-4A92-B2E8-147E548E235F}" type="presOf" srcId="{B2A98FFA-17D7-4EF4-83EA-299A94FA422C}" destId="{F331D372-4F30-4F3A-9125-DA8206C4CA04}" srcOrd="0" destOrd="0" presId="urn:microsoft.com/office/officeart/2008/layout/LinedList"/>
    <dgm:cxn modelId="{AABB1740-B19A-46B5-9B30-1B3778C4DD25}" type="presOf" srcId="{E40D146F-8382-4AA4-A9D2-6DB86514AC4B}" destId="{0E99CB8D-3F27-46E4-BF24-3986856F9CF8}" srcOrd="0" destOrd="0" presId="urn:microsoft.com/office/officeart/2008/layout/LinedList"/>
    <dgm:cxn modelId="{F0300156-40B4-4058-A658-1B5D6B9DA08D}" srcId="{E40D146F-8382-4AA4-A9D2-6DB86514AC4B}" destId="{B2A98FFA-17D7-4EF4-83EA-299A94FA422C}" srcOrd="0" destOrd="0" parTransId="{512ABF34-BB4A-4F14-88F2-A1080A9EFA59}" sibTransId="{1E68EE46-ECB1-4A58-A147-25C93E8C4EF3}"/>
    <dgm:cxn modelId="{77BDB4E4-ADCE-43FA-A1DE-7C202F4799AE}" srcId="{AC7BE6DC-542F-485F-8F8E-BE69E0C62496}" destId="{E40D146F-8382-4AA4-A9D2-6DB86514AC4B}" srcOrd="0" destOrd="0" parTransId="{90F2516C-BEC5-4EEE-94F7-48EFDE73CC3E}" sibTransId="{2474B65C-AB17-4CD6-B660-89CED4C4A530}"/>
    <dgm:cxn modelId="{CDAAC065-55B3-4FE1-AC9A-A987C963E835}" type="presParOf" srcId="{440B31A5-88BC-4C30-80CE-9A8C3F8E37BA}" destId="{5CC0BDC9-96F3-4DC0-B493-637A2BFBDD8A}" srcOrd="0" destOrd="0" presId="urn:microsoft.com/office/officeart/2008/layout/LinedList"/>
    <dgm:cxn modelId="{12626B1D-E7F6-4EB4-84C9-FE88C2D665A0}" type="presParOf" srcId="{440B31A5-88BC-4C30-80CE-9A8C3F8E37BA}" destId="{7C416EB3-81EA-410B-B278-C8E7A5B85EA0}" srcOrd="1" destOrd="0" presId="urn:microsoft.com/office/officeart/2008/layout/LinedList"/>
    <dgm:cxn modelId="{A6DD9C80-4F39-42B9-A4DA-8607752B06B0}" type="presParOf" srcId="{7C416EB3-81EA-410B-B278-C8E7A5B85EA0}" destId="{0E99CB8D-3F27-46E4-BF24-3986856F9CF8}" srcOrd="0" destOrd="0" presId="urn:microsoft.com/office/officeart/2008/layout/LinedList"/>
    <dgm:cxn modelId="{5012987E-4065-4ED1-A821-671DC34DB00C}" type="presParOf" srcId="{7C416EB3-81EA-410B-B278-C8E7A5B85EA0}" destId="{C7FD9AB1-1CC3-402F-B379-8E355690E03A}" srcOrd="1" destOrd="0" presId="urn:microsoft.com/office/officeart/2008/layout/LinedList"/>
    <dgm:cxn modelId="{9B66C46D-4978-4CAB-B412-B99F06EBB205}" type="presParOf" srcId="{C7FD9AB1-1CC3-402F-B379-8E355690E03A}" destId="{4C9E2607-CA98-45DB-BF00-C6CC100F834F}" srcOrd="0" destOrd="0" presId="urn:microsoft.com/office/officeart/2008/layout/LinedList"/>
    <dgm:cxn modelId="{A72BF6D4-3E8D-47F5-9C82-4694352C0F90}" type="presParOf" srcId="{C7FD9AB1-1CC3-402F-B379-8E355690E03A}" destId="{DCEA88EA-D58B-4B45-A15A-E61655C30669}" srcOrd="1" destOrd="0" presId="urn:microsoft.com/office/officeart/2008/layout/LinedList"/>
    <dgm:cxn modelId="{16BB7D29-6685-49B9-B5BA-5E4DB3670141}" type="presParOf" srcId="{DCEA88EA-D58B-4B45-A15A-E61655C30669}" destId="{092F928A-C9EE-43F1-B42B-15E7B12D5DC6}" srcOrd="0" destOrd="0" presId="urn:microsoft.com/office/officeart/2008/layout/LinedList"/>
    <dgm:cxn modelId="{4365B3A7-7A14-44E2-9F79-90D527E15891}" type="presParOf" srcId="{DCEA88EA-D58B-4B45-A15A-E61655C30669}" destId="{F331D372-4F30-4F3A-9125-DA8206C4CA04}" srcOrd="1" destOrd="0" presId="urn:microsoft.com/office/officeart/2008/layout/LinedList"/>
    <dgm:cxn modelId="{6F6EFCC5-2B5E-487C-90A4-7BF3E704DA1E}" type="presParOf" srcId="{DCEA88EA-D58B-4B45-A15A-E61655C30669}" destId="{D9FAC1CA-3851-48A6-B51E-A9D87A10649A}" srcOrd="2" destOrd="0" presId="urn:microsoft.com/office/officeart/2008/layout/LinedList"/>
    <dgm:cxn modelId="{445D1B90-DED4-4831-A71B-59E3AC5D6914}" type="presParOf" srcId="{C7FD9AB1-1CC3-402F-B379-8E355690E03A}" destId="{9B865B61-F503-4BEE-B515-4BB2723B05E6}" srcOrd="2" destOrd="0" presId="urn:microsoft.com/office/officeart/2008/layout/LinedList"/>
    <dgm:cxn modelId="{D71E7A5B-0B3C-4FF0-80E8-D3A04FC1E66B}" type="presParOf" srcId="{C7FD9AB1-1CC3-402F-B379-8E355690E03A}" destId="{C829D16C-A620-4CA2-893F-050E34630A28}" srcOrd="3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C6886A5-9184-4CE0-B724-7EA41F846EA5}" type="doc">
      <dgm:prSet loTypeId="urn:microsoft.com/office/officeart/2005/8/layout/cycle5" loCatId="cycle" qsTypeId="urn:microsoft.com/office/officeart/2005/8/quickstyle/3d3" qsCatId="3D" csTypeId="urn:microsoft.com/office/officeart/2005/8/colors/colorful2" csCatId="colorful" phldr="1"/>
      <dgm:spPr/>
    </dgm:pt>
    <dgm:pt modelId="{66F21525-7A2E-4190-A4DE-790BA1CE0E00}">
      <dgm:prSet phldrT="[Text]" custT="1"/>
      <dgm:spPr/>
      <dgm:t>
        <a:bodyPr/>
        <a:lstStyle/>
        <a:p>
          <a:r>
            <a:rPr kumimoji="0" lang="ru-RU" altLang="de-DE" sz="1200" b="0" i="0" u="none" strike="noStrike" cap="none" spc="0" normalizeH="0" baseline="0" noProof="0" dirty="0" smtClean="0">
              <a:ln/>
              <a:solidFill>
                <a:srgbClr val="003366"/>
              </a:solidFill>
              <a:effectLst/>
              <a:uLnTx/>
              <a:uFillTx/>
              <a:latin typeface="+mj-lt"/>
              <a:ea typeface="+mn-ea"/>
              <a:cs typeface="+mn-cs"/>
            </a:rPr>
            <a:t>1. Оценка рисков и наблюдение </a:t>
          </a:r>
          <a:endParaRPr lang="en-US" sz="1200" b="0" dirty="0">
            <a:solidFill>
              <a:srgbClr val="003366"/>
            </a:solidFill>
            <a:latin typeface="+mj-lt"/>
          </a:endParaRPr>
        </a:p>
      </dgm:t>
    </dgm:pt>
    <dgm:pt modelId="{35596682-5647-4BAF-8258-E0F494618FBE}" type="parTrans" cxnId="{25219FC1-C8C7-424C-9262-17D19C9E74D6}">
      <dgm:prSet/>
      <dgm:spPr/>
      <dgm:t>
        <a:bodyPr/>
        <a:lstStyle/>
        <a:p>
          <a:endParaRPr lang="en-US"/>
        </a:p>
      </dgm:t>
    </dgm:pt>
    <dgm:pt modelId="{0DCF450A-A5EA-400B-B32E-464810A5640A}" type="sibTrans" cxnId="{25219FC1-C8C7-424C-9262-17D19C9E74D6}">
      <dgm:prSet/>
      <dgm:spPr/>
      <dgm:t>
        <a:bodyPr/>
        <a:lstStyle/>
        <a:p>
          <a:endParaRPr lang="en-US"/>
        </a:p>
      </dgm:t>
    </dgm:pt>
    <dgm:pt modelId="{DCDCC461-3441-4A7F-907F-4E0725835F82}">
      <dgm:prSet phldrT="[Text]" custT="1"/>
      <dgm:spPr/>
      <dgm:t>
        <a:bodyPr/>
        <a:lstStyle/>
        <a:p>
          <a:r>
            <a:rPr lang="ru-RU" sz="1200" b="0" dirty="0" smtClean="0">
              <a:solidFill>
                <a:srgbClr val="003366"/>
              </a:solidFill>
              <a:latin typeface="+mj-lt"/>
            </a:rPr>
            <a:t>2. Правила и процессы</a:t>
          </a:r>
          <a:endParaRPr lang="en-US" sz="1200" b="0" dirty="0">
            <a:solidFill>
              <a:srgbClr val="003366"/>
            </a:solidFill>
            <a:latin typeface="+mj-lt"/>
          </a:endParaRPr>
        </a:p>
      </dgm:t>
    </dgm:pt>
    <dgm:pt modelId="{F0C7D61E-0F5C-4862-86BF-DBCF67B3B2D8}" type="parTrans" cxnId="{63E7A44A-757B-4B06-AE21-93B56BB92440}">
      <dgm:prSet/>
      <dgm:spPr/>
      <dgm:t>
        <a:bodyPr/>
        <a:lstStyle/>
        <a:p>
          <a:endParaRPr lang="en-US"/>
        </a:p>
      </dgm:t>
    </dgm:pt>
    <dgm:pt modelId="{251F0676-4B46-47C7-BDC2-0CABD0FCAC72}" type="sibTrans" cxnId="{63E7A44A-757B-4B06-AE21-93B56BB92440}">
      <dgm:prSet/>
      <dgm:spPr/>
      <dgm:t>
        <a:bodyPr/>
        <a:lstStyle/>
        <a:p>
          <a:endParaRPr lang="en-US"/>
        </a:p>
      </dgm:t>
    </dgm:pt>
    <dgm:pt modelId="{2B704BCD-39D4-444F-9015-856AF5C15CD8}">
      <dgm:prSet phldrT="[Text]" custT="1"/>
      <dgm:spPr/>
      <dgm:t>
        <a:bodyPr/>
        <a:lstStyle/>
        <a:p>
          <a:r>
            <a:rPr kumimoji="0" lang="ru-RU" altLang="de-DE" sz="1200" b="0" i="0" u="none" strike="noStrike" cap="none" spc="0" normalizeH="0" baseline="0" noProof="0" dirty="0" smtClean="0">
              <a:ln/>
              <a:solidFill>
                <a:srgbClr val="003366"/>
              </a:solidFill>
              <a:effectLst/>
              <a:uLnTx/>
              <a:uFillTx/>
              <a:latin typeface="+mj-lt"/>
              <a:ea typeface="+mn-ea"/>
              <a:cs typeface="+mn-cs"/>
            </a:rPr>
            <a:t>5. Контроли, ответственность</a:t>
          </a:r>
          <a:endParaRPr lang="en-US" sz="1200" b="0" dirty="0">
            <a:solidFill>
              <a:srgbClr val="003366"/>
            </a:solidFill>
            <a:latin typeface="+mj-lt"/>
          </a:endParaRPr>
        </a:p>
      </dgm:t>
    </dgm:pt>
    <dgm:pt modelId="{1E06FAA1-D2C0-4FAF-83E4-19B81B2B85DC}" type="parTrans" cxnId="{D5A47B90-DF9F-4FBE-8FF5-E94211C9D0A1}">
      <dgm:prSet/>
      <dgm:spPr/>
      <dgm:t>
        <a:bodyPr/>
        <a:lstStyle/>
        <a:p>
          <a:endParaRPr lang="en-US"/>
        </a:p>
      </dgm:t>
    </dgm:pt>
    <dgm:pt modelId="{1CA4345E-480C-4555-9106-30E5D058BA56}" type="sibTrans" cxnId="{D5A47B90-DF9F-4FBE-8FF5-E94211C9D0A1}">
      <dgm:prSet/>
      <dgm:spPr/>
      <dgm:t>
        <a:bodyPr/>
        <a:lstStyle/>
        <a:p>
          <a:endParaRPr lang="en-US"/>
        </a:p>
      </dgm:t>
    </dgm:pt>
    <dgm:pt modelId="{C0A74AE4-118D-4D13-B5F8-3A1D853960E6}">
      <dgm:prSet phldrT="[Text]" custT="1"/>
      <dgm:spPr/>
      <dgm:t>
        <a:bodyPr/>
        <a:lstStyle/>
        <a:p>
          <a:r>
            <a:rPr kumimoji="0" lang="ru-RU" altLang="de-DE" sz="1200" b="0" i="0" u="none" strike="noStrike" cap="none" spc="0" normalizeH="0" baseline="0" noProof="0" dirty="0" smtClean="0">
              <a:ln/>
              <a:solidFill>
                <a:srgbClr val="003366"/>
              </a:solidFill>
              <a:effectLst/>
              <a:uLnTx/>
              <a:uFillTx/>
              <a:latin typeface="+mj-lt"/>
              <a:ea typeface="+mn-ea"/>
              <a:cs typeface="+mn-cs"/>
            </a:rPr>
            <a:t>6. Роль руководства</a:t>
          </a:r>
          <a:endParaRPr lang="en-US" sz="1200" b="0" dirty="0">
            <a:solidFill>
              <a:srgbClr val="003366"/>
            </a:solidFill>
            <a:latin typeface="+mj-lt"/>
          </a:endParaRPr>
        </a:p>
      </dgm:t>
    </dgm:pt>
    <dgm:pt modelId="{7E1F6A44-42DC-42BF-B6DE-D8C1EC05A91E}" type="parTrans" cxnId="{ACA2EA63-A110-4CD5-8CC0-1921CD9CF22C}">
      <dgm:prSet/>
      <dgm:spPr/>
      <dgm:t>
        <a:bodyPr/>
        <a:lstStyle/>
        <a:p>
          <a:endParaRPr lang="en-US"/>
        </a:p>
      </dgm:t>
    </dgm:pt>
    <dgm:pt modelId="{B1A2E441-FFB7-425A-9F01-30E16D1F2A74}" type="sibTrans" cxnId="{ACA2EA63-A110-4CD5-8CC0-1921CD9CF22C}">
      <dgm:prSet/>
      <dgm:spPr/>
      <dgm:t>
        <a:bodyPr/>
        <a:lstStyle/>
        <a:p>
          <a:endParaRPr lang="en-US"/>
        </a:p>
      </dgm:t>
    </dgm:pt>
    <dgm:pt modelId="{704452D4-2153-4D51-AE05-67CAAEE96921}">
      <dgm:prSet phldrT="[Text]" custT="1"/>
      <dgm:spPr/>
      <dgm:t>
        <a:bodyPr/>
        <a:lstStyle/>
        <a:p>
          <a:r>
            <a:rPr kumimoji="0" lang="ru-RU" altLang="de-DE" sz="1200" b="0" i="0" u="none" strike="noStrike" cap="none" spc="0" normalizeH="0" baseline="0" noProof="0" dirty="0" smtClean="0">
              <a:ln/>
              <a:solidFill>
                <a:srgbClr val="003366"/>
              </a:solidFill>
              <a:effectLst/>
              <a:uLnTx/>
              <a:uFillTx/>
              <a:latin typeface="+mj-lt"/>
              <a:ea typeface="+mn-ea"/>
              <a:cs typeface="+mn-cs"/>
            </a:rPr>
            <a:t>3. Тренинги, коммуникация</a:t>
          </a:r>
          <a:endParaRPr lang="en-US" sz="1200" b="0" dirty="0">
            <a:solidFill>
              <a:srgbClr val="003366"/>
            </a:solidFill>
            <a:latin typeface="+mj-lt"/>
          </a:endParaRPr>
        </a:p>
      </dgm:t>
    </dgm:pt>
    <dgm:pt modelId="{5850B2A7-1244-4159-99C5-EECD7C8A16BA}" type="parTrans" cxnId="{C192DA15-23DE-43EA-ACA9-1932621D0ECF}">
      <dgm:prSet/>
      <dgm:spPr/>
      <dgm:t>
        <a:bodyPr/>
        <a:lstStyle/>
        <a:p>
          <a:endParaRPr lang="en-US"/>
        </a:p>
      </dgm:t>
    </dgm:pt>
    <dgm:pt modelId="{1DFE47CF-2368-4A8B-95A2-1DB5464295AD}" type="sibTrans" cxnId="{C192DA15-23DE-43EA-ACA9-1932621D0ECF}">
      <dgm:prSet/>
      <dgm:spPr/>
      <dgm:t>
        <a:bodyPr/>
        <a:lstStyle/>
        <a:p>
          <a:endParaRPr lang="en-US"/>
        </a:p>
      </dgm:t>
    </dgm:pt>
    <dgm:pt modelId="{59EE48BA-C66D-4E04-95C0-F03E2C26E8F4}">
      <dgm:prSet phldrT="[Text]" custT="1"/>
      <dgm:spPr/>
      <dgm:t>
        <a:bodyPr/>
        <a:lstStyle/>
        <a:p>
          <a:r>
            <a:rPr lang="ru-RU" sz="1200" b="0" dirty="0" smtClean="0">
              <a:solidFill>
                <a:srgbClr val="003366"/>
              </a:solidFill>
              <a:latin typeface="+mj-lt"/>
            </a:rPr>
            <a:t>4. Функция </a:t>
          </a:r>
          <a:r>
            <a:rPr lang="ru-RU" sz="1200" b="0" dirty="0" err="1" smtClean="0">
              <a:solidFill>
                <a:srgbClr val="003366"/>
              </a:solidFill>
              <a:latin typeface="+mj-lt"/>
            </a:rPr>
            <a:t>комплаенс</a:t>
          </a:r>
          <a:r>
            <a:rPr lang="ru-RU" sz="1200" b="0" dirty="0" smtClean="0">
              <a:solidFill>
                <a:srgbClr val="003366"/>
              </a:solidFill>
              <a:latin typeface="+mj-lt"/>
            </a:rPr>
            <a:t> менеджера</a:t>
          </a:r>
          <a:endParaRPr lang="en-US" sz="1200" b="0" dirty="0">
            <a:solidFill>
              <a:srgbClr val="003366"/>
            </a:solidFill>
            <a:latin typeface="+mj-lt"/>
          </a:endParaRPr>
        </a:p>
      </dgm:t>
    </dgm:pt>
    <dgm:pt modelId="{40DD2DB0-DE94-4E54-91A9-8998FD841855}" type="parTrans" cxnId="{FD207850-6BC1-431D-80C1-FEC7D7AFADEF}">
      <dgm:prSet/>
      <dgm:spPr/>
      <dgm:t>
        <a:bodyPr/>
        <a:lstStyle/>
        <a:p>
          <a:endParaRPr lang="en-US"/>
        </a:p>
      </dgm:t>
    </dgm:pt>
    <dgm:pt modelId="{D481A0EA-B454-40F3-ACDA-CE27B2A2AD4A}" type="sibTrans" cxnId="{FD207850-6BC1-431D-80C1-FEC7D7AFADEF}">
      <dgm:prSet/>
      <dgm:spPr/>
      <dgm:t>
        <a:bodyPr/>
        <a:lstStyle/>
        <a:p>
          <a:endParaRPr lang="en-US"/>
        </a:p>
      </dgm:t>
    </dgm:pt>
    <dgm:pt modelId="{B7D4CE6F-B09E-41E6-B8FE-3436C0DA5218}" type="pres">
      <dgm:prSet presAssocID="{4C6886A5-9184-4CE0-B724-7EA41F846EA5}" presName="cycle" presStyleCnt="0">
        <dgm:presLayoutVars>
          <dgm:dir/>
          <dgm:resizeHandles val="exact"/>
        </dgm:presLayoutVars>
      </dgm:prSet>
      <dgm:spPr/>
    </dgm:pt>
    <dgm:pt modelId="{E49D4560-1DA6-448B-9A83-ECAD92E5DD17}" type="pres">
      <dgm:prSet presAssocID="{66F21525-7A2E-4190-A4DE-790BA1CE0E00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D582F47-3938-4DED-A70E-A3461951928F}" type="pres">
      <dgm:prSet presAssocID="{66F21525-7A2E-4190-A4DE-790BA1CE0E00}" presName="spNode" presStyleCnt="0"/>
      <dgm:spPr/>
    </dgm:pt>
    <dgm:pt modelId="{0B31EE2F-C703-4774-B591-C3B4484206AA}" type="pres">
      <dgm:prSet presAssocID="{0DCF450A-A5EA-400B-B32E-464810A5640A}" presName="sibTrans" presStyleLbl="sibTrans1D1" presStyleIdx="0" presStyleCnt="6"/>
      <dgm:spPr/>
      <dgm:t>
        <a:bodyPr/>
        <a:lstStyle/>
        <a:p>
          <a:endParaRPr lang="ru-RU"/>
        </a:p>
      </dgm:t>
    </dgm:pt>
    <dgm:pt modelId="{5633F04A-46F4-4815-B14F-4AD3D1FA3203}" type="pres">
      <dgm:prSet presAssocID="{DCDCC461-3441-4A7F-907F-4E0725835F82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6019E53-C743-4A14-8493-4ACDB979A3DD}" type="pres">
      <dgm:prSet presAssocID="{DCDCC461-3441-4A7F-907F-4E0725835F82}" presName="spNode" presStyleCnt="0"/>
      <dgm:spPr/>
    </dgm:pt>
    <dgm:pt modelId="{2FF04348-0306-4B5C-BFFA-59FC839CEBFA}" type="pres">
      <dgm:prSet presAssocID="{251F0676-4B46-47C7-BDC2-0CABD0FCAC72}" presName="sibTrans" presStyleLbl="sibTrans1D1" presStyleIdx="1" presStyleCnt="6"/>
      <dgm:spPr/>
      <dgm:t>
        <a:bodyPr/>
        <a:lstStyle/>
        <a:p>
          <a:endParaRPr lang="ru-RU"/>
        </a:p>
      </dgm:t>
    </dgm:pt>
    <dgm:pt modelId="{F9594891-08F9-4FA7-9061-479D6CFC1310}" type="pres">
      <dgm:prSet presAssocID="{704452D4-2153-4D51-AE05-67CAAEE96921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9C3CAEF-3EE0-4C7F-9233-0C2D68A929F9}" type="pres">
      <dgm:prSet presAssocID="{704452D4-2153-4D51-AE05-67CAAEE96921}" presName="spNode" presStyleCnt="0"/>
      <dgm:spPr/>
    </dgm:pt>
    <dgm:pt modelId="{5341472E-4E2B-4A73-B3AE-6F0708829056}" type="pres">
      <dgm:prSet presAssocID="{1DFE47CF-2368-4A8B-95A2-1DB5464295AD}" presName="sibTrans" presStyleLbl="sibTrans1D1" presStyleIdx="2" presStyleCnt="6"/>
      <dgm:spPr/>
      <dgm:t>
        <a:bodyPr/>
        <a:lstStyle/>
        <a:p>
          <a:endParaRPr lang="ru-RU"/>
        </a:p>
      </dgm:t>
    </dgm:pt>
    <dgm:pt modelId="{D7987AEC-5782-4D96-A009-06E31B3C1E9A}" type="pres">
      <dgm:prSet presAssocID="{59EE48BA-C66D-4E04-95C0-F03E2C26E8F4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569D7D9-A391-4C34-9141-617988748F0C}" type="pres">
      <dgm:prSet presAssocID="{59EE48BA-C66D-4E04-95C0-F03E2C26E8F4}" presName="spNode" presStyleCnt="0"/>
      <dgm:spPr/>
    </dgm:pt>
    <dgm:pt modelId="{0F780AA1-DDD1-4C73-91C8-3151D69AF32B}" type="pres">
      <dgm:prSet presAssocID="{D481A0EA-B454-40F3-ACDA-CE27B2A2AD4A}" presName="sibTrans" presStyleLbl="sibTrans1D1" presStyleIdx="3" presStyleCnt="6"/>
      <dgm:spPr/>
      <dgm:t>
        <a:bodyPr/>
        <a:lstStyle/>
        <a:p>
          <a:endParaRPr lang="ru-RU"/>
        </a:p>
      </dgm:t>
    </dgm:pt>
    <dgm:pt modelId="{A11F3169-2D7F-4913-864C-05D43CEFF2A2}" type="pres">
      <dgm:prSet presAssocID="{2B704BCD-39D4-444F-9015-856AF5C15CD8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8E7BE52-503C-452B-A536-19539067A607}" type="pres">
      <dgm:prSet presAssocID="{2B704BCD-39D4-444F-9015-856AF5C15CD8}" presName="spNode" presStyleCnt="0"/>
      <dgm:spPr/>
    </dgm:pt>
    <dgm:pt modelId="{D8ABE861-0F1F-4447-BF92-73B70B4FA1E4}" type="pres">
      <dgm:prSet presAssocID="{1CA4345E-480C-4555-9106-30E5D058BA56}" presName="sibTrans" presStyleLbl="sibTrans1D1" presStyleIdx="4" presStyleCnt="6"/>
      <dgm:spPr/>
      <dgm:t>
        <a:bodyPr/>
        <a:lstStyle/>
        <a:p>
          <a:endParaRPr lang="ru-RU"/>
        </a:p>
      </dgm:t>
    </dgm:pt>
    <dgm:pt modelId="{8341E0D4-37A8-4A10-98C4-65967977CBCC}" type="pres">
      <dgm:prSet presAssocID="{C0A74AE4-118D-4D13-B5F8-3A1D853960E6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B735621-2719-41F5-A4E6-3E9BBABAF5C0}" type="pres">
      <dgm:prSet presAssocID="{C0A74AE4-118D-4D13-B5F8-3A1D853960E6}" presName="spNode" presStyleCnt="0"/>
      <dgm:spPr/>
    </dgm:pt>
    <dgm:pt modelId="{CCE18275-390D-483C-9D9A-547DFA40BB60}" type="pres">
      <dgm:prSet presAssocID="{B1A2E441-FFB7-425A-9F01-30E16D1F2A74}" presName="sibTrans" presStyleLbl="sibTrans1D1" presStyleIdx="5" presStyleCnt="6"/>
      <dgm:spPr/>
      <dgm:t>
        <a:bodyPr/>
        <a:lstStyle/>
        <a:p>
          <a:endParaRPr lang="ru-RU"/>
        </a:p>
      </dgm:t>
    </dgm:pt>
  </dgm:ptLst>
  <dgm:cxnLst>
    <dgm:cxn modelId="{8913E2AB-17E7-4EC4-ADD8-3AF9B7045C31}" type="presOf" srcId="{1CA4345E-480C-4555-9106-30E5D058BA56}" destId="{D8ABE861-0F1F-4447-BF92-73B70B4FA1E4}" srcOrd="0" destOrd="0" presId="urn:microsoft.com/office/officeart/2005/8/layout/cycle5"/>
    <dgm:cxn modelId="{D5A47B90-DF9F-4FBE-8FF5-E94211C9D0A1}" srcId="{4C6886A5-9184-4CE0-B724-7EA41F846EA5}" destId="{2B704BCD-39D4-444F-9015-856AF5C15CD8}" srcOrd="4" destOrd="0" parTransId="{1E06FAA1-D2C0-4FAF-83E4-19B81B2B85DC}" sibTransId="{1CA4345E-480C-4555-9106-30E5D058BA56}"/>
    <dgm:cxn modelId="{B9BF7C14-CAE8-47D6-A47A-AE80A97B259D}" type="presOf" srcId="{B1A2E441-FFB7-425A-9F01-30E16D1F2A74}" destId="{CCE18275-390D-483C-9D9A-547DFA40BB60}" srcOrd="0" destOrd="0" presId="urn:microsoft.com/office/officeart/2005/8/layout/cycle5"/>
    <dgm:cxn modelId="{FD207850-6BC1-431D-80C1-FEC7D7AFADEF}" srcId="{4C6886A5-9184-4CE0-B724-7EA41F846EA5}" destId="{59EE48BA-C66D-4E04-95C0-F03E2C26E8F4}" srcOrd="3" destOrd="0" parTransId="{40DD2DB0-DE94-4E54-91A9-8998FD841855}" sibTransId="{D481A0EA-B454-40F3-ACDA-CE27B2A2AD4A}"/>
    <dgm:cxn modelId="{26C933B3-870B-4873-9F90-A1B63563777D}" type="presOf" srcId="{704452D4-2153-4D51-AE05-67CAAEE96921}" destId="{F9594891-08F9-4FA7-9061-479D6CFC1310}" srcOrd="0" destOrd="0" presId="urn:microsoft.com/office/officeart/2005/8/layout/cycle5"/>
    <dgm:cxn modelId="{2A4AAD00-0D92-4D27-8EF0-19CEC92B38E2}" type="presOf" srcId="{66F21525-7A2E-4190-A4DE-790BA1CE0E00}" destId="{E49D4560-1DA6-448B-9A83-ECAD92E5DD17}" srcOrd="0" destOrd="0" presId="urn:microsoft.com/office/officeart/2005/8/layout/cycle5"/>
    <dgm:cxn modelId="{ACA2EA63-A110-4CD5-8CC0-1921CD9CF22C}" srcId="{4C6886A5-9184-4CE0-B724-7EA41F846EA5}" destId="{C0A74AE4-118D-4D13-B5F8-3A1D853960E6}" srcOrd="5" destOrd="0" parTransId="{7E1F6A44-42DC-42BF-B6DE-D8C1EC05A91E}" sibTransId="{B1A2E441-FFB7-425A-9F01-30E16D1F2A74}"/>
    <dgm:cxn modelId="{63E7A44A-757B-4B06-AE21-93B56BB92440}" srcId="{4C6886A5-9184-4CE0-B724-7EA41F846EA5}" destId="{DCDCC461-3441-4A7F-907F-4E0725835F82}" srcOrd="1" destOrd="0" parTransId="{F0C7D61E-0F5C-4862-86BF-DBCF67B3B2D8}" sibTransId="{251F0676-4B46-47C7-BDC2-0CABD0FCAC72}"/>
    <dgm:cxn modelId="{EE793C1E-4362-4B9F-809F-73892389141E}" type="presOf" srcId="{59EE48BA-C66D-4E04-95C0-F03E2C26E8F4}" destId="{D7987AEC-5782-4D96-A009-06E31B3C1E9A}" srcOrd="0" destOrd="0" presId="urn:microsoft.com/office/officeart/2005/8/layout/cycle5"/>
    <dgm:cxn modelId="{C34A3965-1D08-452B-B071-566BDB89E4CD}" type="presOf" srcId="{C0A74AE4-118D-4D13-B5F8-3A1D853960E6}" destId="{8341E0D4-37A8-4A10-98C4-65967977CBCC}" srcOrd="0" destOrd="0" presId="urn:microsoft.com/office/officeart/2005/8/layout/cycle5"/>
    <dgm:cxn modelId="{34CA8943-5081-4232-A05C-67E7EB54713E}" type="presOf" srcId="{1DFE47CF-2368-4A8B-95A2-1DB5464295AD}" destId="{5341472E-4E2B-4A73-B3AE-6F0708829056}" srcOrd="0" destOrd="0" presId="urn:microsoft.com/office/officeart/2005/8/layout/cycle5"/>
    <dgm:cxn modelId="{C192DA15-23DE-43EA-ACA9-1932621D0ECF}" srcId="{4C6886A5-9184-4CE0-B724-7EA41F846EA5}" destId="{704452D4-2153-4D51-AE05-67CAAEE96921}" srcOrd="2" destOrd="0" parTransId="{5850B2A7-1244-4159-99C5-EECD7C8A16BA}" sibTransId="{1DFE47CF-2368-4A8B-95A2-1DB5464295AD}"/>
    <dgm:cxn modelId="{F416DDB6-6F8A-4B2F-A0A1-D760F3D0736C}" type="presOf" srcId="{0DCF450A-A5EA-400B-B32E-464810A5640A}" destId="{0B31EE2F-C703-4774-B591-C3B4484206AA}" srcOrd="0" destOrd="0" presId="urn:microsoft.com/office/officeart/2005/8/layout/cycle5"/>
    <dgm:cxn modelId="{3415D09E-58C7-4051-9507-AD4D4D959EC4}" type="presOf" srcId="{4C6886A5-9184-4CE0-B724-7EA41F846EA5}" destId="{B7D4CE6F-B09E-41E6-B8FE-3436C0DA5218}" srcOrd="0" destOrd="0" presId="urn:microsoft.com/office/officeart/2005/8/layout/cycle5"/>
    <dgm:cxn modelId="{E0F574A7-EEB0-474F-9549-73A8FFCF3408}" type="presOf" srcId="{2B704BCD-39D4-444F-9015-856AF5C15CD8}" destId="{A11F3169-2D7F-4913-864C-05D43CEFF2A2}" srcOrd="0" destOrd="0" presId="urn:microsoft.com/office/officeart/2005/8/layout/cycle5"/>
    <dgm:cxn modelId="{C60630EF-2985-434A-A2C0-39E960DCF61E}" type="presOf" srcId="{DCDCC461-3441-4A7F-907F-4E0725835F82}" destId="{5633F04A-46F4-4815-B14F-4AD3D1FA3203}" srcOrd="0" destOrd="0" presId="urn:microsoft.com/office/officeart/2005/8/layout/cycle5"/>
    <dgm:cxn modelId="{15DC66DC-154D-4E6A-9A45-B7A609610169}" type="presOf" srcId="{251F0676-4B46-47C7-BDC2-0CABD0FCAC72}" destId="{2FF04348-0306-4B5C-BFFA-59FC839CEBFA}" srcOrd="0" destOrd="0" presId="urn:microsoft.com/office/officeart/2005/8/layout/cycle5"/>
    <dgm:cxn modelId="{25219FC1-C8C7-424C-9262-17D19C9E74D6}" srcId="{4C6886A5-9184-4CE0-B724-7EA41F846EA5}" destId="{66F21525-7A2E-4190-A4DE-790BA1CE0E00}" srcOrd="0" destOrd="0" parTransId="{35596682-5647-4BAF-8258-E0F494618FBE}" sibTransId="{0DCF450A-A5EA-400B-B32E-464810A5640A}"/>
    <dgm:cxn modelId="{D684564E-50F2-4EA2-B957-8CECDDEB833D}" type="presOf" srcId="{D481A0EA-B454-40F3-ACDA-CE27B2A2AD4A}" destId="{0F780AA1-DDD1-4C73-91C8-3151D69AF32B}" srcOrd="0" destOrd="0" presId="urn:microsoft.com/office/officeart/2005/8/layout/cycle5"/>
    <dgm:cxn modelId="{71EF22C3-5EB6-45E0-B638-45D7E735D3B5}" type="presParOf" srcId="{B7D4CE6F-B09E-41E6-B8FE-3436C0DA5218}" destId="{E49D4560-1DA6-448B-9A83-ECAD92E5DD17}" srcOrd="0" destOrd="0" presId="urn:microsoft.com/office/officeart/2005/8/layout/cycle5"/>
    <dgm:cxn modelId="{E763B409-CA9D-4C5E-AE35-CFEB648B941C}" type="presParOf" srcId="{B7D4CE6F-B09E-41E6-B8FE-3436C0DA5218}" destId="{8D582F47-3938-4DED-A70E-A3461951928F}" srcOrd="1" destOrd="0" presId="urn:microsoft.com/office/officeart/2005/8/layout/cycle5"/>
    <dgm:cxn modelId="{D25F2C56-C55A-4ECC-9E80-DE384837543A}" type="presParOf" srcId="{B7D4CE6F-B09E-41E6-B8FE-3436C0DA5218}" destId="{0B31EE2F-C703-4774-B591-C3B4484206AA}" srcOrd="2" destOrd="0" presId="urn:microsoft.com/office/officeart/2005/8/layout/cycle5"/>
    <dgm:cxn modelId="{FBF26F42-E4E2-4CFE-A25E-C44F659383FC}" type="presParOf" srcId="{B7D4CE6F-B09E-41E6-B8FE-3436C0DA5218}" destId="{5633F04A-46F4-4815-B14F-4AD3D1FA3203}" srcOrd="3" destOrd="0" presId="urn:microsoft.com/office/officeart/2005/8/layout/cycle5"/>
    <dgm:cxn modelId="{CF1C4FB8-75E1-4C4A-914A-FA0864429B24}" type="presParOf" srcId="{B7D4CE6F-B09E-41E6-B8FE-3436C0DA5218}" destId="{46019E53-C743-4A14-8493-4ACDB979A3DD}" srcOrd="4" destOrd="0" presId="urn:microsoft.com/office/officeart/2005/8/layout/cycle5"/>
    <dgm:cxn modelId="{55FD166C-E3EE-4593-9944-16F2528E04A2}" type="presParOf" srcId="{B7D4CE6F-B09E-41E6-B8FE-3436C0DA5218}" destId="{2FF04348-0306-4B5C-BFFA-59FC839CEBFA}" srcOrd="5" destOrd="0" presId="urn:microsoft.com/office/officeart/2005/8/layout/cycle5"/>
    <dgm:cxn modelId="{554FF9A8-5319-4419-AA7D-D293DEE04E46}" type="presParOf" srcId="{B7D4CE6F-B09E-41E6-B8FE-3436C0DA5218}" destId="{F9594891-08F9-4FA7-9061-479D6CFC1310}" srcOrd="6" destOrd="0" presId="urn:microsoft.com/office/officeart/2005/8/layout/cycle5"/>
    <dgm:cxn modelId="{C4F0F084-41C2-4258-B5F3-6EB26C39021C}" type="presParOf" srcId="{B7D4CE6F-B09E-41E6-B8FE-3436C0DA5218}" destId="{29C3CAEF-3EE0-4C7F-9233-0C2D68A929F9}" srcOrd="7" destOrd="0" presId="urn:microsoft.com/office/officeart/2005/8/layout/cycle5"/>
    <dgm:cxn modelId="{49A12F5A-9C60-4FA7-ADA2-761A6CDA56FC}" type="presParOf" srcId="{B7D4CE6F-B09E-41E6-B8FE-3436C0DA5218}" destId="{5341472E-4E2B-4A73-B3AE-6F0708829056}" srcOrd="8" destOrd="0" presId="urn:microsoft.com/office/officeart/2005/8/layout/cycle5"/>
    <dgm:cxn modelId="{2FFFF079-99B7-40B3-AC13-A5D5536AB2A5}" type="presParOf" srcId="{B7D4CE6F-B09E-41E6-B8FE-3436C0DA5218}" destId="{D7987AEC-5782-4D96-A009-06E31B3C1E9A}" srcOrd="9" destOrd="0" presId="urn:microsoft.com/office/officeart/2005/8/layout/cycle5"/>
    <dgm:cxn modelId="{7E437F28-F438-4142-BC4E-024855446859}" type="presParOf" srcId="{B7D4CE6F-B09E-41E6-B8FE-3436C0DA5218}" destId="{9569D7D9-A391-4C34-9141-617988748F0C}" srcOrd="10" destOrd="0" presId="urn:microsoft.com/office/officeart/2005/8/layout/cycle5"/>
    <dgm:cxn modelId="{6577FAF9-9CA9-45B8-AF69-A77966238E43}" type="presParOf" srcId="{B7D4CE6F-B09E-41E6-B8FE-3436C0DA5218}" destId="{0F780AA1-DDD1-4C73-91C8-3151D69AF32B}" srcOrd="11" destOrd="0" presId="urn:microsoft.com/office/officeart/2005/8/layout/cycle5"/>
    <dgm:cxn modelId="{5C51E2C1-822B-4743-B99C-11913EE8783F}" type="presParOf" srcId="{B7D4CE6F-B09E-41E6-B8FE-3436C0DA5218}" destId="{A11F3169-2D7F-4913-864C-05D43CEFF2A2}" srcOrd="12" destOrd="0" presId="urn:microsoft.com/office/officeart/2005/8/layout/cycle5"/>
    <dgm:cxn modelId="{0BF34C08-48A9-45BC-8AD9-0968EED1872E}" type="presParOf" srcId="{B7D4CE6F-B09E-41E6-B8FE-3436C0DA5218}" destId="{B8E7BE52-503C-452B-A536-19539067A607}" srcOrd="13" destOrd="0" presId="urn:microsoft.com/office/officeart/2005/8/layout/cycle5"/>
    <dgm:cxn modelId="{34414D97-0295-43DB-8594-7B3060713C1A}" type="presParOf" srcId="{B7D4CE6F-B09E-41E6-B8FE-3436C0DA5218}" destId="{D8ABE861-0F1F-4447-BF92-73B70B4FA1E4}" srcOrd="14" destOrd="0" presId="urn:microsoft.com/office/officeart/2005/8/layout/cycle5"/>
    <dgm:cxn modelId="{4C5FB90F-E5EC-433A-9E06-A02665521918}" type="presParOf" srcId="{B7D4CE6F-B09E-41E6-B8FE-3436C0DA5218}" destId="{8341E0D4-37A8-4A10-98C4-65967977CBCC}" srcOrd="15" destOrd="0" presId="urn:microsoft.com/office/officeart/2005/8/layout/cycle5"/>
    <dgm:cxn modelId="{F5211ACB-9FDD-4A07-94D6-3C6E891BD76E}" type="presParOf" srcId="{B7D4CE6F-B09E-41E6-B8FE-3436C0DA5218}" destId="{1B735621-2719-41F5-A4E6-3E9BBABAF5C0}" srcOrd="16" destOrd="0" presId="urn:microsoft.com/office/officeart/2005/8/layout/cycle5"/>
    <dgm:cxn modelId="{1672C798-59F7-4FEF-9437-27112D650B97}" type="presParOf" srcId="{B7D4CE6F-B09E-41E6-B8FE-3436C0DA5218}" destId="{CCE18275-390D-483C-9D9A-547DFA40BB60}" srcOrd="17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C7BE6DC-542F-485F-8F8E-BE69E0C62496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2A98FFA-17D7-4EF4-83EA-299A94FA422C}">
      <dgm:prSet phldrT="[Text]"/>
      <dgm:spPr/>
      <dgm:t>
        <a:bodyPr/>
        <a:lstStyle/>
        <a:p>
          <a:r>
            <a:rPr lang="ru-RU" smtClean="0"/>
            <a:t>Корпоративное управление</a:t>
          </a:r>
          <a:endParaRPr lang="ru-RU" dirty="0" smtClean="0"/>
        </a:p>
      </dgm:t>
    </dgm:pt>
    <dgm:pt modelId="{512ABF34-BB4A-4F14-88F2-A1080A9EFA59}" type="parTrans" cxnId="{F0300156-40B4-4058-A658-1B5D6B9DA08D}">
      <dgm:prSet/>
      <dgm:spPr/>
      <dgm:t>
        <a:bodyPr/>
        <a:lstStyle/>
        <a:p>
          <a:endParaRPr lang="ru-RU"/>
        </a:p>
      </dgm:t>
    </dgm:pt>
    <dgm:pt modelId="{1E68EE46-ECB1-4A58-A147-25C93E8C4EF3}" type="sibTrans" cxnId="{F0300156-40B4-4058-A658-1B5D6B9DA08D}">
      <dgm:prSet/>
      <dgm:spPr/>
      <dgm:t>
        <a:bodyPr/>
        <a:lstStyle/>
        <a:p>
          <a:endParaRPr lang="ru-RU"/>
        </a:p>
      </dgm:t>
    </dgm:pt>
    <dgm:pt modelId="{E40D146F-8382-4AA4-A9D2-6DB86514AC4B}">
      <dgm:prSet phldrT="[Text]"/>
      <dgm:spPr/>
      <dgm:t>
        <a:bodyPr/>
        <a:lstStyle/>
        <a:p>
          <a:endParaRPr lang="ru-RU" dirty="0"/>
        </a:p>
      </dgm:t>
    </dgm:pt>
    <dgm:pt modelId="{2474B65C-AB17-4CD6-B660-89CED4C4A530}" type="sibTrans" cxnId="{77BDB4E4-ADCE-43FA-A1DE-7C202F4799AE}">
      <dgm:prSet/>
      <dgm:spPr/>
      <dgm:t>
        <a:bodyPr/>
        <a:lstStyle/>
        <a:p>
          <a:endParaRPr lang="ru-RU"/>
        </a:p>
      </dgm:t>
    </dgm:pt>
    <dgm:pt modelId="{90F2516C-BEC5-4EEE-94F7-48EFDE73CC3E}" type="parTrans" cxnId="{77BDB4E4-ADCE-43FA-A1DE-7C202F4799AE}">
      <dgm:prSet/>
      <dgm:spPr/>
      <dgm:t>
        <a:bodyPr/>
        <a:lstStyle/>
        <a:p>
          <a:endParaRPr lang="ru-RU"/>
        </a:p>
      </dgm:t>
    </dgm:pt>
    <dgm:pt modelId="{440B31A5-88BC-4C30-80CE-9A8C3F8E37BA}" type="pres">
      <dgm:prSet presAssocID="{AC7BE6DC-542F-485F-8F8E-BE69E0C62496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5CC0BDC9-96F3-4DC0-B493-637A2BFBDD8A}" type="pres">
      <dgm:prSet presAssocID="{E40D146F-8382-4AA4-A9D2-6DB86514AC4B}" presName="thickLine" presStyleLbl="alignNode1" presStyleIdx="0" presStyleCnt="1"/>
      <dgm:spPr/>
      <dgm:t>
        <a:bodyPr/>
        <a:lstStyle/>
        <a:p>
          <a:endParaRPr lang="ru-RU"/>
        </a:p>
      </dgm:t>
    </dgm:pt>
    <dgm:pt modelId="{7C416EB3-81EA-410B-B278-C8E7A5B85EA0}" type="pres">
      <dgm:prSet presAssocID="{E40D146F-8382-4AA4-A9D2-6DB86514AC4B}" presName="horz1" presStyleCnt="0"/>
      <dgm:spPr/>
    </dgm:pt>
    <dgm:pt modelId="{0E99CB8D-3F27-46E4-BF24-3986856F9CF8}" type="pres">
      <dgm:prSet presAssocID="{E40D146F-8382-4AA4-A9D2-6DB86514AC4B}" presName="tx1" presStyleLbl="revTx" presStyleIdx="0" presStyleCnt="2"/>
      <dgm:spPr/>
      <dgm:t>
        <a:bodyPr/>
        <a:lstStyle/>
        <a:p>
          <a:endParaRPr lang="ru-RU"/>
        </a:p>
      </dgm:t>
    </dgm:pt>
    <dgm:pt modelId="{C7FD9AB1-1CC3-402F-B379-8E355690E03A}" type="pres">
      <dgm:prSet presAssocID="{E40D146F-8382-4AA4-A9D2-6DB86514AC4B}" presName="vert1" presStyleCnt="0"/>
      <dgm:spPr/>
    </dgm:pt>
    <dgm:pt modelId="{4C9E2607-CA98-45DB-BF00-C6CC100F834F}" type="pres">
      <dgm:prSet presAssocID="{B2A98FFA-17D7-4EF4-83EA-299A94FA422C}" presName="vertSpace2a" presStyleCnt="0"/>
      <dgm:spPr/>
    </dgm:pt>
    <dgm:pt modelId="{DCEA88EA-D58B-4B45-A15A-E61655C30669}" type="pres">
      <dgm:prSet presAssocID="{B2A98FFA-17D7-4EF4-83EA-299A94FA422C}" presName="horz2" presStyleCnt="0"/>
      <dgm:spPr/>
    </dgm:pt>
    <dgm:pt modelId="{092F928A-C9EE-43F1-B42B-15E7B12D5DC6}" type="pres">
      <dgm:prSet presAssocID="{B2A98FFA-17D7-4EF4-83EA-299A94FA422C}" presName="horzSpace2" presStyleCnt="0"/>
      <dgm:spPr/>
    </dgm:pt>
    <dgm:pt modelId="{F331D372-4F30-4F3A-9125-DA8206C4CA04}" type="pres">
      <dgm:prSet presAssocID="{B2A98FFA-17D7-4EF4-83EA-299A94FA422C}" presName="tx2" presStyleLbl="revTx" presStyleIdx="1" presStyleCnt="2" custScaleX="172360" custLinFactNeighborX="-21781" custLinFactNeighborY="-850"/>
      <dgm:spPr/>
      <dgm:t>
        <a:bodyPr/>
        <a:lstStyle/>
        <a:p>
          <a:endParaRPr lang="ru-RU"/>
        </a:p>
      </dgm:t>
    </dgm:pt>
    <dgm:pt modelId="{D9FAC1CA-3851-48A6-B51E-A9D87A10649A}" type="pres">
      <dgm:prSet presAssocID="{B2A98FFA-17D7-4EF4-83EA-299A94FA422C}" presName="vert2" presStyleCnt="0"/>
      <dgm:spPr/>
    </dgm:pt>
    <dgm:pt modelId="{9B865B61-F503-4BEE-B515-4BB2723B05E6}" type="pres">
      <dgm:prSet presAssocID="{B2A98FFA-17D7-4EF4-83EA-299A94FA422C}" presName="thinLine2b" presStyleLbl="callout" presStyleIdx="0" presStyleCnt="1"/>
      <dgm:spPr/>
    </dgm:pt>
    <dgm:pt modelId="{C829D16C-A620-4CA2-893F-050E34630A28}" type="pres">
      <dgm:prSet presAssocID="{B2A98FFA-17D7-4EF4-83EA-299A94FA422C}" presName="vertSpace2b" presStyleCnt="0"/>
      <dgm:spPr/>
    </dgm:pt>
  </dgm:ptLst>
  <dgm:cxnLst>
    <dgm:cxn modelId="{849DF041-FE9F-4497-8FC0-D265519AA9C4}" type="presOf" srcId="{AC7BE6DC-542F-485F-8F8E-BE69E0C62496}" destId="{440B31A5-88BC-4C30-80CE-9A8C3F8E37BA}" srcOrd="0" destOrd="0" presId="urn:microsoft.com/office/officeart/2008/layout/LinedList"/>
    <dgm:cxn modelId="{8D5C0C72-60EE-44F7-B8E5-3B8DBAA087B1}" type="presOf" srcId="{E40D146F-8382-4AA4-A9D2-6DB86514AC4B}" destId="{0E99CB8D-3F27-46E4-BF24-3986856F9CF8}" srcOrd="0" destOrd="0" presId="urn:microsoft.com/office/officeart/2008/layout/LinedList"/>
    <dgm:cxn modelId="{F0300156-40B4-4058-A658-1B5D6B9DA08D}" srcId="{E40D146F-8382-4AA4-A9D2-6DB86514AC4B}" destId="{B2A98FFA-17D7-4EF4-83EA-299A94FA422C}" srcOrd="0" destOrd="0" parTransId="{512ABF34-BB4A-4F14-88F2-A1080A9EFA59}" sibTransId="{1E68EE46-ECB1-4A58-A147-25C93E8C4EF3}"/>
    <dgm:cxn modelId="{77BDB4E4-ADCE-43FA-A1DE-7C202F4799AE}" srcId="{AC7BE6DC-542F-485F-8F8E-BE69E0C62496}" destId="{E40D146F-8382-4AA4-A9D2-6DB86514AC4B}" srcOrd="0" destOrd="0" parTransId="{90F2516C-BEC5-4EEE-94F7-48EFDE73CC3E}" sibTransId="{2474B65C-AB17-4CD6-B660-89CED4C4A530}"/>
    <dgm:cxn modelId="{C8B1B585-B35D-47C9-ACB1-754E45FC1CD8}" type="presOf" srcId="{B2A98FFA-17D7-4EF4-83EA-299A94FA422C}" destId="{F331D372-4F30-4F3A-9125-DA8206C4CA04}" srcOrd="0" destOrd="0" presId="urn:microsoft.com/office/officeart/2008/layout/LinedList"/>
    <dgm:cxn modelId="{CB4AD22B-6605-435B-B8FB-D5B53BAE1A88}" type="presParOf" srcId="{440B31A5-88BC-4C30-80CE-9A8C3F8E37BA}" destId="{5CC0BDC9-96F3-4DC0-B493-637A2BFBDD8A}" srcOrd="0" destOrd="0" presId="urn:microsoft.com/office/officeart/2008/layout/LinedList"/>
    <dgm:cxn modelId="{99147316-2A85-47EC-A85E-BFD66604606B}" type="presParOf" srcId="{440B31A5-88BC-4C30-80CE-9A8C3F8E37BA}" destId="{7C416EB3-81EA-410B-B278-C8E7A5B85EA0}" srcOrd="1" destOrd="0" presId="urn:microsoft.com/office/officeart/2008/layout/LinedList"/>
    <dgm:cxn modelId="{BEBC8626-B121-49DD-88F3-C086E4E0579C}" type="presParOf" srcId="{7C416EB3-81EA-410B-B278-C8E7A5B85EA0}" destId="{0E99CB8D-3F27-46E4-BF24-3986856F9CF8}" srcOrd="0" destOrd="0" presId="urn:microsoft.com/office/officeart/2008/layout/LinedList"/>
    <dgm:cxn modelId="{CFB6CDB3-FB07-47CD-835A-1A5FCD2D59DD}" type="presParOf" srcId="{7C416EB3-81EA-410B-B278-C8E7A5B85EA0}" destId="{C7FD9AB1-1CC3-402F-B379-8E355690E03A}" srcOrd="1" destOrd="0" presId="urn:microsoft.com/office/officeart/2008/layout/LinedList"/>
    <dgm:cxn modelId="{2F05AAFA-4A6D-4793-9A83-2082E30551D6}" type="presParOf" srcId="{C7FD9AB1-1CC3-402F-B379-8E355690E03A}" destId="{4C9E2607-CA98-45DB-BF00-C6CC100F834F}" srcOrd="0" destOrd="0" presId="urn:microsoft.com/office/officeart/2008/layout/LinedList"/>
    <dgm:cxn modelId="{9F61A01B-4074-4811-8C59-BE188CB5474F}" type="presParOf" srcId="{C7FD9AB1-1CC3-402F-B379-8E355690E03A}" destId="{DCEA88EA-D58B-4B45-A15A-E61655C30669}" srcOrd="1" destOrd="0" presId="urn:microsoft.com/office/officeart/2008/layout/LinedList"/>
    <dgm:cxn modelId="{451200F4-54C8-4E2E-9714-9A35A972BB4C}" type="presParOf" srcId="{DCEA88EA-D58B-4B45-A15A-E61655C30669}" destId="{092F928A-C9EE-43F1-B42B-15E7B12D5DC6}" srcOrd="0" destOrd="0" presId="urn:microsoft.com/office/officeart/2008/layout/LinedList"/>
    <dgm:cxn modelId="{2B79EB5C-6B92-4916-80CD-76E93F6AF88C}" type="presParOf" srcId="{DCEA88EA-D58B-4B45-A15A-E61655C30669}" destId="{F331D372-4F30-4F3A-9125-DA8206C4CA04}" srcOrd="1" destOrd="0" presId="urn:microsoft.com/office/officeart/2008/layout/LinedList"/>
    <dgm:cxn modelId="{BF4EFDE0-B126-42D0-ABA9-1393ABB9DD3F}" type="presParOf" srcId="{DCEA88EA-D58B-4B45-A15A-E61655C30669}" destId="{D9FAC1CA-3851-48A6-B51E-A9D87A10649A}" srcOrd="2" destOrd="0" presId="urn:microsoft.com/office/officeart/2008/layout/LinedList"/>
    <dgm:cxn modelId="{67A13C13-80A6-43B1-9FDB-BE681B754126}" type="presParOf" srcId="{C7FD9AB1-1CC3-402F-B379-8E355690E03A}" destId="{9B865B61-F503-4BEE-B515-4BB2723B05E6}" srcOrd="2" destOrd="0" presId="urn:microsoft.com/office/officeart/2008/layout/LinedList"/>
    <dgm:cxn modelId="{E32FC394-77F4-4099-8279-3765231BEF19}" type="presParOf" srcId="{C7FD9AB1-1CC3-402F-B379-8E355690E03A}" destId="{C829D16C-A620-4CA2-893F-050E34630A28}" srcOrd="3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9D4560-1DA6-448B-9A83-ECAD92E5DD17}">
      <dsp:nvSpPr>
        <dsp:cNvPr id="0" name=""/>
        <dsp:cNvSpPr/>
      </dsp:nvSpPr>
      <dsp:spPr>
        <a:xfrm>
          <a:off x="2203044" y="2342"/>
          <a:ext cx="1585723" cy="1030720"/>
        </a:xfrm>
        <a:prstGeom prst="roundRect">
          <a:avLst/>
        </a:prstGeom>
        <a:solidFill>
          <a:schemeClr val="accent6"/>
        </a:solidFill>
        <a:ln w="38100" cap="flat" cmpd="sng" algn="ctr">
          <a:solidFill>
            <a:srgbClr val="00ADE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ru-RU" altLang="de-DE" sz="1600" b="0" i="0" u="none" strike="noStrike" kern="1200" cap="none" spc="0" normalizeH="0" baseline="0" noProof="0" dirty="0" smtClean="0">
              <a:ln/>
              <a:effectLst/>
              <a:uLnTx/>
              <a:uFillTx/>
              <a:latin typeface="+mj-lt"/>
              <a:ea typeface="+mn-ea"/>
              <a:cs typeface="+mn-cs"/>
            </a:rPr>
            <a:t>1. Оценка рисков и наблюдение </a:t>
          </a:r>
          <a:endParaRPr lang="en-US" sz="1600" b="0" kern="1200" dirty="0">
            <a:latin typeface="+mj-lt"/>
          </a:endParaRPr>
        </a:p>
      </dsp:txBody>
      <dsp:txXfrm>
        <a:off x="2253360" y="52658"/>
        <a:ext cx="1485091" cy="930088"/>
      </dsp:txXfrm>
    </dsp:sp>
    <dsp:sp modelId="{0B31EE2F-C703-4774-B591-C3B4484206AA}">
      <dsp:nvSpPr>
        <dsp:cNvPr id="0" name=""/>
        <dsp:cNvSpPr/>
      </dsp:nvSpPr>
      <dsp:spPr>
        <a:xfrm>
          <a:off x="567956" y="517703"/>
          <a:ext cx="4855899" cy="4855899"/>
        </a:xfrm>
        <a:custGeom>
          <a:avLst/>
          <a:gdLst/>
          <a:ahLst/>
          <a:cxnLst/>
          <a:rect l="0" t="0" r="0" b="0"/>
          <a:pathLst>
            <a:path>
              <a:moveTo>
                <a:pt x="3420205" y="212014"/>
              </a:moveTo>
              <a:arcTo wR="2427949" hR="2427949" stAng="17647318" swAng="923803"/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33F04A-46F4-4815-B14F-4AD3D1FA3203}">
      <dsp:nvSpPr>
        <dsp:cNvPr id="0" name=""/>
        <dsp:cNvSpPr/>
      </dsp:nvSpPr>
      <dsp:spPr>
        <a:xfrm>
          <a:off x="4305710" y="1216317"/>
          <a:ext cx="1585723" cy="1030720"/>
        </a:xfrm>
        <a:prstGeom prst="roundRect">
          <a:avLst/>
        </a:prstGeom>
        <a:solidFill>
          <a:srgbClr val="003366"/>
        </a:solidFill>
        <a:ln w="38100" cap="flat" cmpd="sng" algn="ctr">
          <a:solidFill>
            <a:srgbClr val="003366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0" kern="1200" dirty="0" smtClean="0">
              <a:solidFill>
                <a:schemeClr val="tx1"/>
              </a:solidFill>
              <a:latin typeface="+mn-lt"/>
            </a:rPr>
            <a:t>2. Правила и процессы</a:t>
          </a:r>
          <a:endParaRPr lang="en-US" sz="1600" b="0" kern="1200" dirty="0">
            <a:solidFill>
              <a:schemeClr val="tx1"/>
            </a:solidFill>
            <a:latin typeface="+mn-lt"/>
          </a:endParaRPr>
        </a:p>
      </dsp:txBody>
      <dsp:txXfrm>
        <a:off x="4356026" y="1266633"/>
        <a:ext cx="1485091" cy="930088"/>
      </dsp:txXfrm>
    </dsp:sp>
    <dsp:sp modelId="{2FF04348-0306-4B5C-BFFA-59FC839CEBFA}">
      <dsp:nvSpPr>
        <dsp:cNvPr id="0" name=""/>
        <dsp:cNvSpPr/>
      </dsp:nvSpPr>
      <dsp:spPr>
        <a:xfrm>
          <a:off x="567956" y="517703"/>
          <a:ext cx="4855899" cy="4855899"/>
        </a:xfrm>
        <a:custGeom>
          <a:avLst/>
          <a:gdLst/>
          <a:ahLst/>
          <a:cxnLst/>
          <a:rect l="0" t="0" r="0" b="0"/>
          <a:pathLst>
            <a:path>
              <a:moveTo>
                <a:pt x="4818064" y="2000994"/>
              </a:moveTo>
              <a:arcTo wR="2427949" hR="2427949" stAng="20992312" swAng="1215376"/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9594891-08F9-4FA7-9061-479D6CFC1310}">
      <dsp:nvSpPr>
        <dsp:cNvPr id="0" name=""/>
        <dsp:cNvSpPr/>
      </dsp:nvSpPr>
      <dsp:spPr>
        <a:xfrm>
          <a:off x="4305710" y="3644267"/>
          <a:ext cx="1585723" cy="1030720"/>
        </a:xfrm>
        <a:prstGeom prst="roundRect">
          <a:avLst/>
        </a:prstGeom>
        <a:solidFill>
          <a:srgbClr val="9E9E9E"/>
        </a:solidFill>
        <a:ln w="38100" cap="flat" cmpd="sng" algn="ctr">
          <a:solidFill>
            <a:srgbClr val="9E9E9E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ru-RU" altLang="de-DE" sz="1600" b="0" i="0" u="none" strike="noStrike" kern="1200" cap="none" spc="0" normalizeH="0" baseline="0" noProof="0" dirty="0" smtClean="0">
              <a:ln/>
              <a:solidFill>
                <a:srgbClr val="263F6A"/>
              </a:solidFill>
              <a:effectLst/>
              <a:uLnTx/>
              <a:uFillTx/>
              <a:latin typeface="+mj-lt"/>
              <a:ea typeface="+mn-ea"/>
              <a:cs typeface="+mn-cs"/>
            </a:rPr>
            <a:t>3. Тренинги, коммуникация</a:t>
          </a:r>
          <a:endParaRPr lang="en-US" sz="1600" b="0" kern="1200" dirty="0">
            <a:solidFill>
              <a:srgbClr val="263F6A"/>
            </a:solidFill>
            <a:latin typeface="+mj-lt"/>
          </a:endParaRPr>
        </a:p>
      </dsp:txBody>
      <dsp:txXfrm>
        <a:off x="4356026" y="3694583"/>
        <a:ext cx="1485091" cy="930088"/>
      </dsp:txXfrm>
    </dsp:sp>
    <dsp:sp modelId="{5341472E-4E2B-4A73-B3AE-6F0708829056}">
      <dsp:nvSpPr>
        <dsp:cNvPr id="0" name=""/>
        <dsp:cNvSpPr/>
      </dsp:nvSpPr>
      <dsp:spPr>
        <a:xfrm>
          <a:off x="567956" y="517703"/>
          <a:ext cx="4855899" cy="4855899"/>
        </a:xfrm>
        <a:custGeom>
          <a:avLst/>
          <a:gdLst/>
          <a:ahLst/>
          <a:cxnLst/>
          <a:rect l="0" t="0" r="0" b="0"/>
          <a:pathLst>
            <a:path>
              <a:moveTo>
                <a:pt x="3972927" y="4300911"/>
              </a:moveTo>
              <a:arcTo wR="2427949" hR="2427949" stAng="3028878" swAng="923803"/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7987AEC-5782-4D96-A009-06E31B3C1E9A}">
      <dsp:nvSpPr>
        <dsp:cNvPr id="0" name=""/>
        <dsp:cNvSpPr/>
      </dsp:nvSpPr>
      <dsp:spPr>
        <a:xfrm>
          <a:off x="2203044" y="4858242"/>
          <a:ext cx="1585723" cy="1030720"/>
        </a:xfrm>
        <a:prstGeom prst="roundRect">
          <a:avLst/>
        </a:prstGeom>
        <a:solidFill>
          <a:srgbClr val="0082E6"/>
        </a:solidFill>
        <a:ln w="38100" cap="flat" cmpd="sng" algn="ctr">
          <a:solidFill>
            <a:srgbClr val="0082E6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ru-RU" sz="1600" b="0" i="0" u="none" strike="noStrike" kern="1200" cap="none" spc="0" normalizeH="0" baseline="0" noProof="0" dirty="0" smtClean="0">
              <a:ln/>
              <a:solidFill>
                <a:srgbClr val="263F6A"/>
              </a:solidFill>
              <a:effectLst/>
              <a:uLnTx/>
              <a:uFillTx/>
              <a:latin typeface="+mj-lt"/>
              <a:ea typeface="+mn-ea"/>
              <a:cs typeface="+mn-cs"/>
            </a:rPr>
            <a:t>4. Функция </a:t>
          </a:r>
          <a:r>
            <a:rPr kumimoji="0" lang="ru-RU" sz="1600" b="0" i="0" u="none" strike="noStrike" kern="1200" cap="none" spc="0" normalizeH="0" baseline="0" noProof="0" dirty="0" err="1" smtClean="0">
              <a:ln/>
              <a:solidFill>
                <a:srgbClr val="263F6A"/>
              </a:solidFill>
              <a:effectLst/>
              <a:uLnTx/>
              <a:uFillTx/>
              <a:latin typeface="+mj-lt"/>
              <a:ea typeface="+mn-ea"/>
              <a:cs typeface="+mn-cs"/>
            </a:rPr>
            <a:t>комплаенс</a:t>
          </a:r>
          <a:r>
            <a:rPr kumimoji="0" lang="ru-RU" sz="1600" b="0" i="0" u="none" strike="noStrike" kern="1200" cap="none" spc="0" normalizeH="0" baseline="0" noProof="0" dirty="0" smtClean="0">
              <a:ln/>
              <a:solidFill>
                <a:srgbClr val="263F6A"/>
              </a:solidFill>
              <a:effectLst/>
              <a:uLnTx/>
              <a:uFillTx/>
              <a:latin typeface="+mj-lt"/>
              <a:ea typeface="+mn-ea"/>
              <a:cs typeface="+mn-cs"/>
            </a:rPr>
            <a:t>-менеджера</a:t>
          </a:r>
          <a:endParaRPr lang="en-US" sz="1600" b="0" kern="1200" dirty="0">
            <a:solidFill>
              <a:srgbClr val="263F6A"/>
            </a:solidFill>
            <a:latin typeface="+mj-lt"/>
          </a:endParaRPr>
        </a:p>
      </dsp:txBody>
      <dsp:txXfrm>
        <a:off x="2253360" y="4908558"/>
        <a:ext cx="1485091" cy="930088"/>
      </dsp:txXfrm>
    </dsp:sp>
    <dsp:sp modelId="{0F780AA1-DDD1-4C73-91C8-3151D69AF32B}">
      <dsp:nvSpPr>
        <dsp:cNvPr id="0" name=""/>
        <dsp:cNvSpPr/>
      </dsp:nvSpPr>
      <dsp:spPr>
        <a:xfrm>
          <a:off x="567956" y="517703"/>
          <a:ext cx="4855899" cy="4855899"/>
        </a:xfrm>
        <a:custGeom>
          <a:avLst/>
          <a:gdLst/>
          <a:ahLst/>
          <a:cxnLst/>
          <a:rect l="0" t="0" r="0" b="0"/>
          <a:pathLst>
            <a:path>
              <a:moveTo>
                <a:pt x="1435694" y="4643885"/>
              </a:moveTo>
              <a:arcTo wR="2427949" hR="2427949" stAng="6847318" swAng="923803"/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11F3169-2D7F-4913-864C-05D43CEFF2A2}">
      <dsp:nvSpPr>
        <dsp:cNvPr id="0" name=""/>
        <dsp:cNvSpPr/>
      </dsp:nvSpPr>
      <dsp:spPr>
        <a:xfrm>
          <a:off x="100378" y="3644267"/>
          <a:ext cx="1585723" cy="1030720"/>
        </a:xfrm>
        <a:prstGeom prst="roundRect">
          <a:avLst/>
        </a:prstGeom>
        <a:solidFill>
          <a:srgbClr val="00ADEF"/>
        </a:solidFill>
        <a:ln w="38100" cap="flat" cmpd="sng" algn="ctr">
          <a:solidFill>
            <a:srgbClr val="00ADE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threePt" dir="t"/>
        </a:scene3d>
        <a:sp3d>
          <a:bevelT/>
          <a:bevelB/>
        </a:sp3d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ru-RU" altLang="de-DE" sz="1600" b="0" i="0" u="none" strike="noStrike" kern="1200" cap="none" spc="0" normalizeH="0" baseline="0" noProof="0" dirty="0" smtClean="0">
              <a:ln/>
              <a:solidFill>
                <a:schemeClr val="tx1"/>
              </a:solidFill>
              <a:effectLst/>
              <a:uLnTx/>
              <a:uFillTx/>
              <a:latin typeface="+mj-lt"/>
              <a:ea typeface="+mn-ea"/>
              <a:cs typeface="+mn-cs"/>
            </a:rPr>
            <a:t>5. Контроли, ответственность</a:t>
          </a:r>
          <a:endParaRPr lang="en-US" sz="1600" b="0" kern="1200" dirty="0">
            <a:solidFill>
              <a:schemeClr val="tx1"/>
            </a:solidFill>
            <a:latin typeface="+mj-lt"/>
          </a:endParaRPr>
        </a:p>
      </dsp:txBody>
      <dsp:txXfrm>
        <a:off x="150694" y="3694583"/>
        <a:ext cx="1485091" cy="930088"/>
      </dsp:txXfrm>
    </dsp:sp>
    <dsp:sp modelId="{D8ABE861-0F1F-4447-BF92-73B70B4FA1E4}">
      <dsp:nvSpPr>
        <dsp:cNvPr id="0" name=""/>
        <dsp:cNvSpPr/>
      </dsp:nvSpPr>
      <dsp:spPr>
        <a:xfrm>
          <a:off x="567956" y="517703"/>
          <a:ext cx="4855899" cy="4855899"/>
        </a:xfrm>
        <a:custGeom>
          <a:avLst/>
          <a:gdLst/>
          <a:ahLst/>
          <a:cxnLst/>
          <a:rect l="0" t="0" r="0" b="0"/>
          <a:pathLst>
            <a:path>
              <a:moveTo>
                <a:pt x="37834" y="2854905"/>
              </a:moveTo>
              <a:arcTo wR="2427949" hR="2427949" stAng="10192312" swAng="1215376"/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341E0D4-37A8-4A10-98C4-65967977CBCC}">
      <dsp:nvSpPr>
        <dsp:cNvPr id="0" name=""/>
        <dsp:cNvSpPr/>
      </dsp:nvSpPr>
      <dsp:spPr>
        <a:xfrm>
          <a:off x="100378" y="1216317"/>
          <a:ext cx="1585723" cy="1030720"/>
        </a:xfrm>
        <a:prstGeom prst="roundRect">
          <a:avLst/>
        </a:prstGeom>
        <a:solidFill>
          <a:srgbClr val="9E9E9E"/>
        </a:solidFill>
        <a:ln w="38100" cap="flat" cmpd="sng" algn="ctr">
          <a:solidFill>
            <a:srgbClr val="9E9E9E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threePt" dir="t"/>
        </a:scene3d>
        <a:sp3d>
          <a:bevelT/>
        </a:sp3d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ru-RU" altLang="de-DE" sz="1600" b="0" i="0" u="none" strike="noStrike" kern="1200" cap="none" spc="0" normalizeH="0" baseline="0" noProof="0" dirty="0" smtClean="0">
              <a:ln/>
              <a:solidFill>
                <a:srgbClr val="003366"/>
              </a:solidFill>
              <a:effectLst/>
              <a:uLnTx/>
              <a:uFillTx/>
              <a:latin typeface="+mj-lt"/>
              <a:ea typeface="+mn-ea"/>
              <a:cs typeface="+mn-cs"/>
            </a:rPr>
            <a:t>6. Роль руководства</a:t>
          </a:r>
          <a:endParaRPr lang="en-US" sz="1600" b="0" kern="1200" dirty="0">
            <a:solidFill>
              <a:srgbClr val="003366"/>
            </a:solidFill>
            <a:latin typeface="+mj-lt"/>
          </a:endParaRPr>
        </a:p>
      </dsp:txBody>
      <dsp:txXfrm>
        <a:off x="150694" y="1266633"/>
        <a:ext cx="1485091" cy="930088"/>
      </dsp:txXfrm>
    </dsp:sp>
    <dsp:sp modelId="{CCE18275-390D-483C-9D9A-547DFA40BB60}">
      <dsp:nvSpPr>
        <dsp:cNvPr id="0" name=""/>
        <dsp:cNvSpPr/>
      </dsp:nvSpPr>
      <dsp:spPr>
        <a:xfrm>
          <a:off x="567956" y="517703"/>
          <a:ext cx="4855899" cy="4855899"/>
        </a:xfrm>
        <a:custGeom>
          <a:avLst/>
          <a:gdLst/>
          <a:ahLst/>
          <a:cxnLst/>
          <a:rect l="0" t="0" r="0" b="0"/>
          <a:pathLst>
            <a:path>
              <a:moveTo>
                <a:pt x="882972" y="554988"/>
              </a:moveTo>
              <a:arcTo wR="2427949" hR="2427949" stAng="13828878" swAng="923803"/>
            </a:path>
          </a:pathLst>
        </a:custGeom>
        <a:noFill/>
        <a:ln w="952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C0BDC9-96F3-4DC0-B493-637A2BFBDD8A}">
      <dsp:nvSpPr>
        <dsp:cNvPr id="0" name=""/>
        <dsp:cNvSpPr/>
      </dsp:nvSpPr>
      <dsp:spPr>
        <a:xfrm>
          <a:off x="0" y="0"/>
          <a:ext cx="498023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E99CB8D-3F27-46E4-BF24-3986856F9CF8}">
      <dsp:nvSpPr>
        <dsp:cNvPr id="0" name=""/>
        <dsp:cNvSpPr/>
      </dsp:nvSpPr>
      <dsp:spPr>
        <a:xfrm>
          <a:off x="0" y="0"/>
          <a:ext cx="733417" cy="39001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t" anchorCtr="0">
          <a:noAutofit/>
        </a:bodyPr>
        <a:lstStyle/>
        <a:p>
          <a:pPr lvl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500" kern="1200" dirty="0"/>
        </a:p>
      </dsp:txBody>
      <dsp:txXfrm>
        <a:off x="0" y="0"/>
        <a:ext cx="733417" cy="3900176"/>
      </dsp:txXfrm>
    </dsp:sp>
    <dsp:sp modelId="{F331D372-4F30-4F3A-9125-DA8206C4CA04}">
      <dsp:nvSpPr>
        <dsp:cNvPr id="0" name=""/>
        <dsp:cNvSpPr/>
      </dsp:nvSpPr>
      <dsp:spPr>
        <a:xfrm>
          <a:off x="788423" y="177107"/>
          <a:ext cx="4190585" cy="354215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118110" rIns="118110" bIns="118110" numCol="1" spcCol="1270" anchor="t" anchorCtr="0">
          <a:noAutofit/>
        </a:bodyPr>
        <a:lstStyle/>
        <a:p>
          <a:pPr lvl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100" kern="1200" dirty="0" smtClean="0"/>
        </a:p>
        <a:p>
          <a:pPr lvl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100" kern="1200" dirty="0" smtClean="0"/>
            <a:t>Система антимонопольного </a:t>
          </a:r>
          <a:r>
            <a:rPr lang="ru-RU" sz="3100" kern="1200" dirty="0" err="1" smtClean="0"/>
            <a:t>комплаенс</a:t>
          </a:r>
          <a:r>
            <a:rPr lang="ru-RU" sz="3100" kern="1200" dirty="0" smtClean="0"/>
            <a:t> компании «Мерседес-</a:t>
          </a:r>
          <a:r>
            <a:rPr lang="ru-RU" sz="3100" kern="1200" dirty="0" err="1" smtClean="0"/>
            <a:t>Бенц</a:t>
          </a:r>
          <a:r>
            <a:rPr lang="ru-RU" sz="3100" kern="1200" dirty="0" smtClean="0"/>
            <a:t> РУС» </a:t>
          </a:r>
        </a:p>
        <a:p>
          <a:pPr lvl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100" kern="1200" dirty="0" smtClean="0">
              <a:solidFill>
                <a:srgbClr val="00ADEF"/>
              </a:solidFill>
            </a:rPr>
            <a:t>(«</a:t>
          </a:r>
          <a:r>
            <a:rPr lang="ru-RU" sz="3100" kern="1200" dirty="0" err="1" smtClean="0">
              <a:solidFill>
                <a:srgbClr val="00ADEF"/>
              </a:solidFill>
            </a:rPr>
            <a:t>Даймлер</a:t>
          </a:r>
          <a:r>
            <a:rPr lang="ru-RU" sz="3100" kern="1200" dirty="0" smtClean="0">
              <a:solidFill>
                <a:srgbClr val="00ADEF"/>
              </a:solidFill>
            </a:rPr>
            <a:t> АГ»)</a:t>
          </a:r>
          <a:endParaRPr lang="ru-RU" sz="3100" kern="1200" dirty="0">
            <a:solidFill>
              <a:srgbClr val="00ADEF"/>
            </a:solidFill>
          </a:endParaRPr>
        </a:p>
      </dsp:txBody>
      <dsp:txXfrm>
        <a:off x="788423" y="177107"/>
        <a:ext cx="4190585" cy="3542152"/>
      </dsp:txXfrm>
    </dsp:sp>
    <dsp:sp modelId="{9B865B61-F503-4BEE-B515-4BB2723B05E6}">
      <dsp:nvSpPr>
        <dsp:cNvPr id="0" name=""/>
        <dsp:cNvSpPr/>
      </dsp:nvSpPr>
      <dsp:spPr>
        <a:xfrm>
          <a:off x="733417" y="3719259"/>
          <a:ext cx="2933669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9D4560-1DA6-448B-9A83-ECAD92E5DD17}">
      <dsp:nvSpPr>
        <dsp:cNvPr id="0" name=""/>
        <dsp:cNvSpPr/>
      </dsp:nvSpPr>
      <dsp:spPr>
        <a:xfrm>
          <a:off x="1745332" y="376"/>
          <a:ext cx="1237431" cy="80433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ru-RU" altLang="de-DE" sz="1200" b="0" i="0" u="none" strike="noStrike" kern="1200" cap="none" spc="0" normalizeH="0" baseline="0" noProof="0" dirty="0" smtClean="0">
              <a:ln/>
              <a:solidFill>
                <a:srgbClr val="003366"/>
              </a:solidFill>
              <a:effectLst/>
              <a:uLnTx/>
              <a:uFillTx/>
              <a:latin typeface="+mj-lt"/>
              <a:ea typeface="+mn-ea"/>
              <a:cs typeface="+mn-cs"/>
            </a:rPr>
            <a:t>1. Оценка рисков и наблюдение </a:t>
          </a:r>
          <a:endParaRPr lang="en-US" sz="1200" b="0" kern="1200" dirty="0">
            <a:solidFill>
              <a:srgbClr val="003366"/>
            </a:solidFill>
            <a:latin typeface="+mj-lt"/>
          </a:endParaRPr>
        </a:p>
      </dsp:txBody>
      <dsp:txXfrm>
        <a:off x="1784596" y="39640"/>
        <a:ext cx="1158903" cy="725802"/>
      </dsp:txXfrm>
    </dsp:sp>
    <dsp:sp modelId="{0B31EE2F-C703-4774-B591-C3B4484206AA}">
      <dsp:nvSpPr>
        <dsp:cNvPr id="0" name=""/>
        <dsp:cNvSpPr/>
      </dsp:nvSpPr>
      <dsp:spPr>
        <a:xfrm>
          <a:off x="469858" y="402541"/>
          <a:ext cx="3788378" cy="3788378"/>
        </a:xfrm>
        <a:custGeom>
          <a:avLst/>
          <a:gdLst/>
          <a:ahLst/>
          <a:cxnLst/>
          <a:rect l="0" t="0" r="0" b="0"/>
          <a:pathLst>
            <a:path>
              <a:moveTo>
                <a:pt x="2668403" y="165448"/>
              </a:moveTo>
              <a:arcTo wR="1894189" hR="1894189" stAng="17647509" swAng="923460"/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33F04A-46F4-4815-B14F-4AD3D1FA3203}">
      <dsp:nvSpPr>
        <dsp:cNvPr id="0" name=""/>
        <dsp:cNvSpPr/>
      </dsp:nvSpPr>
      <dsp:spPr>
        <a:xfrm>
          <a:off x="3385748" y="947471"/>
          <a:ext cx="1237431" cy="804330"/>
        </a:xfrm>
        <a:prstGeom prst="roundRect">
          <a:avLst/>
        </a:prstGeom>
        <a:solidFill>
          <a:schemeClr val="accent2">
            <a:hueOff val="0"/>
            <a:satOff val="0"/>
            <a:lumOff val="-2353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0" kern="1200" dirty="0" smtClean="0">
              <a:solidFill>
                <a:srgbClr val="003366"/>
              </a:solidFill>
              <a:latin typeface="+mj-lt"/>
            </a:rPr>
            <a:t>2. Правила и процессы</a:t>
          </a:r>
          <a:endParaRPr lang="en-US" sz="1200" b="0" kern="1200" dirty="0">
            <a:solidFill>
              <a:srgbClr val="003366"/>
            </a:solidFill>
            <a:latin typeface="+mj-lt"/>
          </a:endParaRPr>
        </a:p>
      </dsp:txBody>
      <dsp:txXfrm>
        <a:off x="3425012" y="986735"/>
        <a:ext cx="1158903" cy="725802"/>
      </dsp:txXfrm>
    </dsp:sp>
    <dsp:sp modelId="{2FF04348-0306-4B5C-BFFA-59FC839CEBFA}">
      <dsp:nvSpPr>
        <dsp:cNvPr id="0" name=""/>
        <dsp:cNvSpPr/>
      </dsp:nvSpPr>
      <dsp:spPr>
        <a:xfrm>
          <a:off x="469858" y="402541"/>
          <a:ext cx="3788378" cy="3788378"/>
        </a:xfrm>
        <a:custGeom>
          <a:avLst/>
          <a:gdLst/>
          <a:ahLst/>
          <a:cxnLst/>
          <a:rect l="0" t="0" r="0" b="0"/>
          <a:pathLst>
            <a:path>
              <a:moveTo>
                <a:pt x="3758872" y="1561160"/>
              </a:moveTo>
              <a:arcTo wR="1894189" hR="1894189" stAng="20992431" swAng="1215138"/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-2353"/>
              <a:alphaOff val="0"/>
            </a:schemeClr>
          </a:solidFill>
          <a:prstDash val="solid"/>
          <a:tailEnd type="arrow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9594891-08F9-4FA7-9061-479D6CFC1310}">
      <dsp:nvSpPr>
        <dsp:cNvPr id="0" name=""/>
        <dsp:cNvSpPr/>
      </dsp:nvSpPr>
      <dsp:spPr>
        <a:xfrm>
          <a:off x="3385748" y="2841660"/>
          <a:ext cx="1237431" cy="804330"/>
        </a:xfrm>
        <a:prstGeom prst="roundRect">
          <a:avLst/>
        </a:prstGeom>
        <a:solidFill>
          <a:schemeClr val="accent2">
            <a:hueOff val="0"/>
            <a:satOff val="0"/>
            <a:lumOff val="-4706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ru-RU" altLang="de-DE" sz="1200" b="0" i="0" u="none" strike="noStrike" kern="1200" cap="none" spc="0" normalizeH="0" baseline="0" noProof="0" dirty="0" smtClean="0">
              <a:ln/>
              <a:solidFill>
                <a:srgbClr val="003366"/>
              </a:solidFill>
              <a:effectLst/>
              <a:uLnTx/>
              <a:uFillTx/>
              <a:latin typeface="+mj-lt"/>
              <a:ea typeface="+mn-ea"/>
              <a:cs typeface="+mn-cs"/>
            </a:rPr>
            <a:t>3. Тренинги, коммуникация</a:t>
          </a:r>
          <a:endParaRPr lang="en-US" sz="1200" b="0" kern="1200" dirty="0">
            <a:solidFill>
              <a:srgbClr val="003366"/>
            </a:solidFill>
            <a:latin typeface="+mj-lt"/>
          </a:endParaRPr>
        </a:p>
      </dsp:txBody>
      <dsp:txXfrm>
        <a:off x="3425012" y="2880924"/>
        <a:ext cx="1158903" cy="725802"/>
      </dsp:txXfrm>
    </dsp:sp>
    <dsp:sp modelId="{5341472E-4E2B-4A73-B3AE-6F0708829056}">
      <dsp:nvSpPr>
        <dsp:cNvPr id="0" name=""/>
        <dsp:cNvSpPr/>
      </dsp:nvSpPr>
      <dsp:spPr>
        <a:xfrm>
          <a:off x="469858" y="402541"/>
          <a:ext cx="3788378" cy="3788378"/>
        </a:xfrm>
        <a:custGeom>
          <a:avLst/>
          <a:gdLst/>
          <a:ahLst/>
          <a:cxnLst/>
          <a:rect l="0" t="0" r="0" b="0"/>
          <a:pathLst>
            <a:path>
              <a:moveTo>
                <a:pt x="3099453" y="3355452"/>
              </a:moveTo>
              <a:arcTo wR="1894189" hR="1894189" stAng="3029032" swAng="923460"/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-4706"/>
              <a:alphaOff val="0"/>
            </a:schemeClr>
          </a:solidFill>
          <a:prstDash val="solid"/>
          <a:tailEnd type="arrow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7987AEC-5782-4D96-A009-06E31B3C1E9A}">
      <dsp:nvSpPr>
        <dsp:cNvPr id="0" name=""/>
        <dsp:cNvSpPr/>
      </dsp:nvSpPr>
      <dsp:spPr>
        <a:xfrm>
          <a:off x="1745332" y="3788755"/>
          <a:ext cx="1237431" cy="804330"/>
        </a:xfrm>
        <a:prstGeom prst="roundRect">
          <a:avLst/>
        </a:prstGeom>
        <a:solidFill>
          <a:schemeClr val="accent2">
            <a:hueOff val="0"/>
            <a:satOff val="0"/>
            <a:lumOff val="-7059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0" kern="1200" dirty="0" smtClean="0">
              <a:solidFill>
                <a:srgbClr val="003366"/>
              </a:solidFill>
              <a:latin typeface="+mj-lt"/>
            </a:rPr>
            <a:t>4. Функция </a:t>
          </a:r>
          <a:r>
            <a:rPr lang="ru-RU" sz="1200" b="0" kern="1200" dirty="0" err="1" smtClean="0">
              <a:solidFill>
                <a:srgbClr val="003366"/>
              </a:solidFill>
              <a:latin typeface="+mj-lt"/>
            </a:rPr>
            <a:t>комплаенс</a:t>
          </a:r>
          <a:r>
            <a:rPr lang="ru-RU" sz="1200" b="0" kern="1200" dirty="0" smtClean="0">
              <a:solidFill>
                <a:srgbClr val="003366"/>
              </a:solidFill>
              <a:latin typeface="+mj-lt"/>
            </a:rPr>
            <a:t> менеджера</a:t>
          </a:r>
          <a:endParaRPr lang="en-US" sz="1200" b="0" kern="1200" dirty="0">
            <a:solidFill>
              <a:srgbClr val="003366"/>
            </a:solidFill>
            <a:latin typeface="+mj-lt"/>
          </a:endParaRPr>
        </a:p>
      </dsp:txBody>
      <dsp:txXfrm>
        <a:off x="1784596" y="3828019"/>
        <a:ext cx="1158903" cy="725802"/>
      </dsp:txXfrm>
    </dsp:sp>
    <dsp:sp modelId="{0F780AA1-DDD1-4C73-91C8-3151D69AF32B}">
      <dsp:nvSpPr>
        <dsp:cNvPr id="0" name=""/>
        <dsp:cNvSpPr/>
      </dsp:nvSpPr>
      <dsp:spPr>
        <a:xfrm>
          <a:off x="469858" y="402541"/>
          <a:ext cx="3788378" cy="3788378"/>
        </a:xfrm>
        <a:custGeom>
          <a:avLst/>
          <a:gdLst/>
          <a:ahLst/>
          <a:cxnLst/>
          <a:rect l="0" t="0" r="0" b="0"/>
          <a:pathLst>
            <a:path>
              <a:moveTo>
                <a:pt x="1119975" y="3622930"/>
              </a:moveTo>
              <a:arcTo wR="1894189" hR="1894189" stAng="6847509" swAng="923460"/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-7059"/>
              <a:alphaOff val="0"/>
            </a:schemeClr>
          </a:solidFill>
          <a:prstDash val="solid"/>
          <a:tailEnd type="arrow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11F3169-2D7F-4913-864C-05D43CEFF2A2}">
      <dsp:nvSpPr>
        <dsp:cNvPr id="0" name=""/>
        <dsp:cNvSpPr/>
      </dsp:nvSpPr>
      <dsp:spPr>
        <a:xfrm>
          <a:off x="104916" y="2841660"/>
          <a:ext cx="1237431" cy="804330"/>
        </a:xfrm>
        <a:prstGeom prst="roundRect">
          <a:avLst/>
        </a:prstGeom>
        <a:solidFill>
          <a:schemeClr val="accent2">
            <a:hueOff val="0"/>
            <a:satOff val="0"/>
            <a:lumOff val="-9412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ru-RU" altLang="de-DE" sz="1200" b="0" i="0" u="none" strike="noStrike" kern="1200" cap="none" spc="0" normalizeH="0" baseline="0" noProof="0" dirty="0" smtClean="0">
              <a:ln/>
              <a:solidFill>
                <a:srgbClr val="003366"/>
              </a:solidFill>
              <a:effectLst/>
              <a:uLnTx/>
              <a:uFillTx/>
              <a:latin typeface="+mj-lt"/>
              <a:ea typeface="+mn-ea"/>
              <a:cs typeface="+mn-cs"/>
            </a:rPr>
            <a:t>5. Контроли, ответственность</a:t>
          </a:r>
          <a:endParaRPr lang="en-US" sz="1200" b="0" kern="1200" dirty="0">
            <a:solidFill>
              <a:srgbClr val="003366"/>
            </a:solidFill>
            <a:latin typeface="+mj-lt"/>
          </a:endParaRPr>
        </a:p>
      </dsp:txBody>
      <dsp:txXfrm>
        <a:off x="144180" y="2880924"/>
        <a:ext cx="1158903" cy="725802"/>
      </dsp:txXfrm>
    </dsp:sp>
    <dsp:sp modelId="{D8ABE861-0F1F-4447-BF92-73B70B4FA1E4}">
      <dsp:nvSpPr>
        <dsp:cNvPr id="0" name=""/>
        <dsp:cNvSpPr/>
      </dsp:nvSpPr>
      <dsp:spPr>
        <a:xfrm>
          <a:off x="469858" y="402541"/>
          <a:ext cx="3788378" cy="3788378"/>
        </a:xfrm>
        <a:custGeom>
          <a:avLst/>
          <a:gdLst/>
          <a:ahLst/>
          <a:cxnLst/>
          <a:rect l="0" t="0" r="0" b="0"/>
          <a:pathLst>
            <a:path>
              <a:moveTo>
                <a:pt x="29505" y="2227218"/>
              </a:moveTo>
              <a:arcTo wR="1894189" hR="1894189" stAng="10192431" swAng="1215138"/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-9412"/>
              <a:alphaOff val="0"/>
            </a:schemeClr>
          </a:solidFill>
          <a:prstDash val="solid"/>
          <a:tailEnd type="arrow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341E0D4-37A8-4A10-98C4-65967977CBCC}">
      <dsp:nvSpPr>
        <dsp:cNvPr id="0" name=""/>
        <dsp:cNvSpPr/>
      </dsp:nvSpPr>
      <dsp:spPr>
        <a:xfrm>
          <a:off x="104916" y="947471"/>
          <a:ext cx="1237431" cy="804330"/>
        </a:xfrm>
        <a:prstGeom prst="roundRect">
          <a:avLst/>
        </a:prstGeom>
        <a:solidFill>
          <a:schemeClr val="accent2">
            <a:hueOff val="0"/>
            <a:satOff val="0"/>
            <a:lumOff val="-11765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ru-RU" altLang="de-DE" sz="1200" b="0" i="0" u="none" strike="noStrike" kern="1200" cap="none" spc="0" normalizeH="0" baseline="0" noProof="0" dirty="0" smtClean="0">
              <a:ln/>
              <a:solidFill>
                <a:srgbClr val="003366"/>
              </a:solidFill>
              <a:effectLst/>
              <a:uLnTx/>
              <a:uFillTx/>
              <a:latin typeface="+mj-lt"/>
              <a:ea typeface="+mn-ea"/>
              <a:cs typeface="+mn-cs"/>
            </a:rPr>
            <a:t>6. Роль руководства</a:t>
          </a:r>
          <a:endParaRPr lang="en-US" sz="1200" b="0" kern="1200" dirty="0">
            <a:solidFill>
              <a:srgbClr val="003366"/>
            </a:solidFill>
            <a:latin typeface="+mj-lt"/>
          </a:endParaRPr>
        </a:p>
      </dsp:txBody>
      <dsp:txXfrm>
        <a:off x="144180" y="986735"/>
        <a:ext cx="1158903" cy="725802"/>
      </dsp:txXfrm>
    </dsp:sp>
    <dsp:sp modelId="{CCE18275-390D-483C-9D9A-547DFA40BB60}">
      <dsp:nvSpPr>
        <dsp:cNvPr id="0" name=""/>
        <dsp:cNvSpPr/>
      </dsp:nvSpPr>
      <dsp:spPr>
        <a:xfrm>
          <a:off x="469858" y="402541"/>
          <a:ext cx="3788378" cy="3788378"/>
        </a:xfrm>
        <a:custGeom>
          <a:avLst/>
          <a:gdLst/>
          <a:ahLst/>
          <a:cxnLst/>
          <a:rect l="0" t="0" r="0" b="0"/>
          <a:pathLst>
            <a:path>
              <a:moveTo>
                <a:pt x="688925" y="432925"/>
              </a:moveTo>
              <a:arcTo wR="1894189" hR="1894189" stAng="13829032" swAng="923460"/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-11765"/>
              <a:alphaOff val="0"/>
            </a:schemeClr>
          </a:solidFill>
          <a:prstDash val="solid"/>
          <a:tailEnd type="arrow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C0BDC9-96F3-4DC0-B493-637A2BFBDD8A}">
      <dsp:nvSpPr>
        <dsp:cNvPr id="0" name=""/>
        <dsp:cNvSpPr/>
      </dsp:nvSpPr>
      <dsp:spPr>
        <a:xfrm>
          <a:off x="0" y="0"/>
          <a:ext cx="526355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E99CB8D-3F27-46E4-BF24-3986856F9CF8}">
      <dsp:nvSpPr>
        <dsp:cNvPr id="0" name=""/>
        <dsp:cNvSpPr/>
      </dsp:nvSpPr>
      <dsp:spPr>
        <a:xfrm>
          <a:off x="0" y="0"/>
          <a:ext cx="671308" cy="90406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830" tIns="163830" rIns="163830" bIns="163830" numCol="1" spcCol="1270" anchor="t" anchorCtr="0">
          <a:noAutofit/>
        </a:bodyPr>
        <a:lstStyle/>
        <a:p>
          <a:pPr lvl="0" algn="l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4300" kern="1200" dirty="0"/>
        </a:p>
      </dsp:txBody>
      <dsp:txXfrm>
        <a:off x="0" y="0"/>
        <a:ext cx="671308" cy="904067"/>
      </dsp:txXfrm>
    </dsp:sp>
    <dsp:sp modelId="{F331D372-4F30-4F3A-9125-DA8206C4CA04}">
      <dsp:nvSpPr>
        <dsp:cNvPr id="0" name=""/>
        <dsp:cNvSpPr/>
      </dsp:nvSpPr>
      <dsp:spPr>
        <a:xfrm>
          <a:off x="147752" y="34074"/>
          <a:ext cx="4541490" cy="8210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060" tIns="99060" rIns="99060" bIns="99060" numCol="1" spcCol="1270" anchor="t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600" kern="1200" smtClean="0"/>
            <a:t>Корпоративное управление</a:t>
          </a:r>
          <a:endParaRPr lang="ru-RU" sz="2600" kern="1200" dirty="0" smtClean="0"/>
        </a:p>
      </dsp:txBody>
      <dsp:txXfrm>
        <a:off x="147752" y="34074"/>
        <a:ext cx="4541490" cy="821076"/>
      </dsp:txXfrm>
    </dsp:sp>
    <dsp:sp modelId="{9B865B61-F503-4BEE-B515-4BB2723B05E6}">
      <dsp:nvSpPr>
        <dsp:cNvPr id="0" name=""/>
        <dsp:cNvSpPr/>
      </dsp:nvSpPr>
      <dsp:spPr>
        <a:xfrm>
          <a:off x="671308" y="862130"/>
          <a:ext cx="2685234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1"/>
          <p:cNvSpPr>
            <a:spLocks noGrp="1"/>
          </p:cNvSpPr>
          <p:nvPr>
            <p:ph type="sldNum" sz="quarter" idx="3"/>
          </p:nvPr>
        </p:nvSpPr>
        <p:spPr>
          <a:xfrm>
            <a:off x="6429944" y="8755647"/>
            <a:ext cx="324000" cy="30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/>
            </a:lvl1pPr>
          </a:lstStyle>
          <a:p>
            <a:fld id="{51FCC457-043F-4556-B0AC-C81B79BDB884}" type="slidenum">
              <a:rPr lang="de-DE" sz="1000" smtClean="0">
                <a:solidFill>
                  <a:schemeClr val="bg1"/>
                </a:solidFill>
              </a:rPr>
              <a:t>‹#›</a:t>
            </a:fld>
            <a:endParaRPr lang="de-DE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7354317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bildplatzhalter 2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2000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8" name="Notizenplatzhalter 3"/>
          <p:cNvSpPr>
            <a:spLocks noGrp="1"/>
          </p:cNvSpPr>
          <p:nvPr>
            <p:ph type="body" sz="quarter" idx="3"/>
          </p:nvPr>
        </p:nvSpPr>
        <p:spPr>
          <a:xfrm>
            <a:off x="422276" y="5111183"/>
            <a:ext cx="5953124" cy="359942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marL="0" marR="0" lvl="0" indent="0" algn="l" defTabSz="914271" rtl="0" eaLnBrk="1" fontAlgn="auto" latinLnBrk="0" hangingPunct="1">
              <a:lnSpc>
                <a:spcPct val="108000"/>
              </a:lnSpc>
              <a:spcBef>
                <a:spcPts val="0"/>
              </a:spcBef>
              <a:spcAft>
                <a:spcPts val="1008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edit Master text styles</a:t>
            </a:r>
            <a:endParaRPr lang="de-DE" dirty="0" smtClean="0"/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0" name="Foliennummernplatzhalter 1"/>
          <p:cNvSpPr>
            <a:spLocks noGrp="1"/>
          </p:cNvSpPr>
          <p:nvPr>
            <p:ph type="sldNum" sz="quarter" idx="5"/>
          </p:nvPr>
        </p:nvSpPr>
        <p:spPr>
          <a:xfrm>
            <a:off x="6428232" y="8759952"/>
            <a:ext cx="324000" cy="306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44BA88C8-8E95-4B5E-B649-186D14B9A9B9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585940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marR="0" indent="0" algn="l" defTabSz="914271" rtl="0" eaLnBrk="1" fontAlgn="auto" latinLnBrk="0" hangingPunct="1">
      <a:lnSpc>
        <a:spcPct val="108000"/>
      </a:lnSpc>
      <a:spcBef>
        <a:spcPts val="0"/>
      </a:spcBef>
      <a:spcAft>
        <a:spcPts val="1008"/>
      </a:spcAft>
      <a:buClrTx/>
      <a:buSzTx/>
      <a:buFontTx/>
      <a:buNone/>
      <a:tabLst/>
      <a:defRPr sz="2000" kern="1200">
        <a:solidFill>
          <a:schemeClr val="bg1"/>
        </a:solidFill>
        <a:latin typeface="+mn-lt"/>
        <a:ea typeface="+mn-ea"/>
        <a:cs typeface="+mn-cs"/>
      </a:defRPr>
    </a:lvl1pPr>
    <a:lvl2pPr marL="234000" indent="-234000" algn="l" defTabSz="914271" rtl="0" eaLnBrk="1" latinLnBrk="0" hangingPunct="1">
      <a:lnSpc>
        <a:spcPct val="108000"/>
      </a:lnSpc>
      <a:spcAft>
        <a:spcPts val="1008"/>
      </a:spcAft>
      <a:buFont typeface="Arial" panose="020B0604020202020204" pitchFamily="34" charset="0"/>
      <a:buChar char="•"/>
      <a:defRPr sz="2000" kern="1200">
        <a:solidFill>
          <a:schemeClr val="bg1"/>
        </a:solidFill>
        <a:latin typeface="+mn-lt"/>
        <a:ea typeface="+mn-ea"/>
        <a:cs typeface="+mn-cs"/>
      </a:defRPr>
    </a:lvl2pPr>
    <a:lvl3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bg1"/>
        </a:solidFill>
        <a:latin typeface="+mn-lt"/>
        <a:ea typeface="+mn-ea"/>
        <a:cs typeface="+mn-cs"/>
      </a:defRPr>
    </a:lvl3pPr>
    <a:lvl4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bg1"/>
        </a:solidFill>
        <a:latin typeface="+mn-lt"/>
        <a:ea typeface="+mn-ea"/>
        <a:cs typeface="+mn-cs"/>
      </a:defRPr>
    </a:lvl4pPr>
    <a:lvl5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bg1"/>
        </a:solidFill>
        <a:latin typeface="+mn-lt"/>
        <a:ea typeface="+mn-ea"/>
        <a:cs typeface="+mn-cs"/>
      </a:defRPr>
    </a:lvl5pPr>
    <a:lvl6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379413" y="4343400"/>
            <a:ext cx="6099175" cy="41148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6534000" y="8838000"/>
            <a:ext cx="324000" cy="306000"/>
          </a:xfrm>
          <a:prstGeom prst="rect">
            <a:avLst/>
          </a:prstGeom>
        </p:spPr>
        <p:txBody>
          <a:bodyPr/>
          <a:lstStyle/>
          <a:p>
            <a:pPr lvl="0" algn="l"/>
            <a:fld id="{E27968A0-2773-4E6D-A3EA-5EE59DBB9DEC}" type="slidenum">
              <a:rPr lang="en-GB" sz="900" noProof="0" smtClean="0"/>
              <a:pPr lvl="0" algn="l"/>
              <a:t>1</a:t>
            </a:fld>
            <a:endParaRPr lang="en-GB" sz="900" noProof="0" dirty="0"/>
          </a:p>
        </p:txBody>
      </p:sp>
    </p:spTree>
    <p:extLst>
      <p:ext uri="{BB962C8B-B14F-4D97-AF65-F5344CB8AC3E}">
        <p14:creationId xmlns:p14="http://schemas.microsoft.com/office/powerpoint/2010/main" val="24517948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BA88C8-8E95-4B5E-B649-186D14B9A9B9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29431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7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rivate Vans">
    <p:bg bwMode="black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2"/>
            <a:ext cx="9396000" cy="1044000"/>
          </a:xfrm>
        </p:spPr>
        <p:txBody>
          <a:bodyPr/>
          <a:lstStyle>
            <a:lvl1pPr>
              <a:lnSpc>
                <a:spcPts val="3997"/>
              </a:lnSpc>
              <a:defRPr sz="2999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 on one line in CorpoA (Headings) 30 pt.</a:t>
            </a:r>
            <a:br>
              <a:rPr lang="en-US" dirty="0" smtClean="0"/>
            </a:br>
            <a:r>
              <a:rPr lang="en-US" noProof="0" dirty="0" smtClean="0"/>
              <a:t>On two lines possible.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081" y="4932363"/>
            <a:ext cx="9396000" cy="755637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 smtClean="0"/>
              <a:t>Additional text for presentation 15 pt </a:t>
            </a:r>
            <a:br>
              <a:rPr lang="en-US" noProof="0" dirty="0" smtClean="0"/>
            </a:br>
            <a:r>
              <a:rPr lang="en-US" noProof="0" dirty="0" smtClean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27" y="314136"/>
            <a:ext cx="12191874" cy="340537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</a:t>
            </a:r>
          </a:p>
        </p:txBody>
      </p:sp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Reset the slide back to its 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original form via menu bar: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Home // Slides // Reset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99" b="0" baseline="0" noProof="0" dirty="0" smtClean="0">
              <a:solidFill>
                <a:schemeClr val="accent5"/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Change the slide layout 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via menu bar: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Home // Slides // Layout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99" b="0" baseline="0" noProof="0" dirty="0" smtClean="0">
              <a:solidFill>
                <a:schemeClr val="accent5"/>
              </a:solidFill>
              <a:latin typeface="+mn-lt"/>
            </a:endParaRP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Change the text level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via menu bar: </a:t>
            </a:r>
            <a:b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</a:b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Home // Paragraph // Increase/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Alternating between white and black slide layouts via menu bar: </a:t>
            </a:r>
            <a:b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</a:b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Design // Themes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(Right click: </a:t>
            </a:r>
            <a:r>
              <a:rPr lang="en-US" sz="999" b="0" i="1" baseline="0" noProof="0" dirty="0" smtClean="0">
                <a:solidFill>
                  <a:schemeClr val="accent5"/>
                </a:solidFill>
                <a:latin typeface="+mn-lt"/>
              </a:rPr>
              <a:t>Apply to All Slides </a:t>
            </a: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or </a:t>
            </a:r>
            <a:b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</a:br>
            <a:r>
              <a:rPr lang="en-US" sz="999" b="0" i="1" baseline="0" noProof="0" dirty="0" smtClean="0">
                <a:solidFill>
                  <a:schemeClr val="accent5"/>
                </a:solidFill>
                <a:latin typeface="+mn-lt"/>
              </a:rPr>
              <a:t>Apply to Selected Slide</a:t>
            </a: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Increase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Decrease 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7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served areas for stamps and icons</a:t>
            </a:r>
          </a:p>
        </p:txBody>
      </p:sp>
      <p:grpSp>
        <p:nvGrpSpPr>
          <p:cNvPr id="27" name="Gruppieren 26"/>
          <p:cNvGrpSpPr/>
          <p:nvPr userDrawn="1"/>
        </p:nvGrpSpPr>
        <p:grpSpPr>
          <a:xfrm>
            <a:off x="-1331307" y="-430988"/>
            <a:ext cx="1223363" cy="745124"/>
            <a:chOff x="-1331307" y="-430988"/>
            <a:chExt cx="1223363" cy="745124"/>
          </a:xfrm>
        </p:grpSpPr>
        <p:pic>
          <p:nvPicPr>
            <p:cNvPr id="28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Picture 3"/>
            <p:cNvPicPr>
              <a:picLocks noChangeAspect="1" noChangeArrowheads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6" t="37704" r="2549" b="2753"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0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Adjust footer (per slide or for several/all slides) via menu bar: Insert // Text //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12262206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7433" userDrawn="1">
          <p15:clr>
            <a:srgbClr val="A4A3A4"/>
          </p15:clr>
        </p15:guide>
        <p15:guide id="2" pos="249" userDrawn="1">
          <p15:clr>
            <a:srgbClr val="A4A3A4"/>
          </p15:clr>
        </p15:guide>
        <p15:guide id="3" orient="horz" pos="197" userDrawn="1">
          <p15:clr>
            <a:srgbClr val="A4A3A4"/>
          </p15:clr>
        </p15:guide>
        <p15:guide id="4" orient="horz" pos="2343" userDrawn="1">
          <p15:clr>
            <a:srgbClr val="A4A3A4"/>
          </p15:clr>
        </p15:guide>
        <p15:guide id="5" orient="horz" pos="4049" userDrawn="1">
          <p15:clr>
            <a:srgbClr val="A4A3A4"/>
          </p15:clr>
        </p15:guide>
        <p15:guide id="6" orient="horz" pos="2424" userDrawn="1">
          <p15:clr>
            <a:srgbClr val="A4A3A4"/>
          </p15:clr>
        </p15:guide>
        <p15:guide id="7" orient="horz" pos="3107" userDrawn="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 smtClean="0"/>
              <a:t>Description in </a:t>
            </a:r>
            <a:r>
              <a:rPr lang="en-US" noProof="0" dirty="0" smtClean="0"/>
              <a:t>CorpoS</a:t>
            </a:r>
            <a:r>
              <a:rPr lang="en-US" dirty="0" smtClean="0"/>
              <a:t> (</a:t>
            </a:r>
            <a:r>
              <a:rPr lang="en-US" noProof="0" dirty="0" smtClean="0"/>
              <a:t>Body</a:t>
            </a:r>
            <a:r>
              <a:rPr lang="en-US" dirty="0" smtClean="0"/>
              <a:t>) in 15 pt. 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0"/>
            <a:ext cx="11404800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smtClean="0"/>
              <a:t>CorpoS (Body), 20 pt. </a:t>
            </a:r>
            <a:r>
              <a:rPr lang="en-US" dirty="0" smtClean="0"/>
              <a:t>// for bullets: Home // Paragraph// In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noProof="0" smtClean="0"/>
              <a:t>Presentation title in CorpoS (Body) 10 pt. | Department | Date</a:t>
            </a:r>
            <a:endParaRPr lang="en-US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D1D1349-391B-44DC-865F-5996B3E40F2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6615844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32" userDrawn="1">
          <p15:clr>
            <a:srgbClr val="A4A3A4"/>
          </p15:clr>
        </p15:guide>
        <p15:guide id="2" pos="7433" userDrawn="1">
          <p15:clr>
            <a:srgbClr val="A4A3A4"/>
          </p15:clr>
        </p15:guide>
        <p15:guide id="3" pos="249" userDrawn="1">
          <p15:clr>
            <a:srgbClr val="A4A3A4"/>
          </p15:clr>
        </p15:guide>
        <p15:guide id="4" orient="horz" pos="4049" userDrawn="1">
          <p15:clr>
            <a:srgbClr val="A4A3A4"/>
          </p15:clr>
        </p15:guide>
        <p15:guide id="5" orient="horz" pos="953" userDrawn="1">
          <p15:clr>
            <a:srgbClr val="A4A3A4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4" y="3851886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4" y="3383769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4" y="151130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4" y="198000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4" y="291565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4" y="4320000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4" y="2447534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2" y="1511300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43856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1944000"/>
          </a:xfrm>
          <a:solidFill>
            <a:schemeClr val="accent6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7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3501248"/>
            <a:ext cx="3752845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1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7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Foliennummernplatzhalter 2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9707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9645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2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2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2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2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2376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4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6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0031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de-DE" sz="1999" dirty="0" smtClean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// for bullets: Home // Paragraph// Increase List 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chemeClr val="accent6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29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78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69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69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892751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de-DE" sz="1999" dirty="0" smtClean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// for bullets: Home // Paragraph// Increase List 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3495678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78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6" y="3495678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68"/>
            <a:ext cx="37548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732867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 with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4526573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395795" y="1786681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395795" y="462604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395795" y="3206363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5795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4526573" y="6043658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395795" y="6045725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8846408" y="178616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8846408" y="462449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8846408" y="320532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8846408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8846408" y="6043658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44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45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7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82899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2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0"/>
            <a:ext cx="2994158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2" y="1155600"/>
            <a:ext cx="2994158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2" y="4619700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55080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95082" y="1512001"/>
            <a:ext cx="5508000" cy="2949301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99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1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90247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1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0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1"/>
            <a:ext cx="2993642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5774400"/>
            <a:ext cx="2994158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2" y="2309400"/>
            <a:ext cx="2994158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2" y="0"/>
            <a:ext cx="2994158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9237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smtClean="0"/>
              <a:t>CorpoS (Body), 20 pt. </a:t>
            </a:r>
            <a:r>
              <a:rPr lang="en-US" dirty="0" smtClean="0"/>
              <a:t>// for bullets: Home // Paragraph// In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Presentation title in CorpoS (Body) 10 pt. | Department | Date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smtClean="0"/>
              <a:t>CorpoS (Body), 20 pt. </a:t>
            </a:r>
            <a:r>
              <a:rPr lang="en-US" dirty="0" smtClean="0"/>
              <a:t>// for bullets: Home // Paragraph// In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89647469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7433" userDrawn="1">
          <p15:clr>
            <a:srgbClr val="A4A3A4"/>
          </p15:clr>
        </p15:guide>
        <p15:guide id="2" pos="249" userDrawn="1">
          <p15:clr>
            <a:srgbClr val="A4A3A4"/>
          </p15:clr>
        </p15:guide>
        <p15:guide id="3" orient="horz" pos="232" userDrawn="1">
          <p15:clr>
            <a:srgbClr val="A4A3A4"/>
          </p15:clr>
        </p15:guide>
        <p15:guide id="4" orient="horz" pos="953" userDrawn="1">
          <p15:clr>
            <a:srgbClr val="A4A3A4"/>
          </p15:clr>
        </p15:guide>
        <p15:guide id="5" orient="horz" pos="4049" userDrawn="1">
          <p15:clr>
            <a:srgbClr val="A4A3A4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2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57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57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0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0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0"/>
            <a:ext cx="299364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38702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540000"/>
          </a:xfrm>
        </p:spPr>
        <p:txBody>
          <a:bodyPr/>
          <a:lstStyle>
            <a:lvl1pPr>
              <a:defRPr sz="2999" baseline="0"/>
            </a:lvl1pPr>
          </a:lstStyle>
          <a:p>
            <a:r>
              <a:rPr lang="en-US" noProof="0" dirty="0" smtClean="0"/>
              <a:t>Optional headline on one line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endParaRPr lang="en-US" noProof="0" dirty="0"/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5136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en-US" sz="1999" dirty="0" smtClean="0">
              <a:solidFill>
                <a:prstClr val="black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noProof="0" dirty="0" smtClean="0"/>
              <a:t>Presentation title 30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on one line.</a:t>
            </a:r>
            <a:br>
              <a:rPr lang="en-US" noProof="0" dirty="0" smtClean="0"/>
            </a:br>
            <a:r>
              <a:rPr lang="en-US" noProof="0" dirty="0" smtClean="0"/>
              <a:t>On two lines possible.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 smtClean="0"/>
              <a:t>Additional text for presentation 1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</a:t>
            </a:r>
            <a:br>
              <a:rPr lang="en-US" noProof="0" dirty="0" smtClean="0"/>
            </a:br>
            <a:r>
              <a:rPr lang="en-US" noProof="0" dirty="0" smtClean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pic>
        <p:nvPicPr>
          <p:cNvPr id="12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7" y="-430988"/>
            <a:ext cx="1221702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Reset the slide back to its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original form via menu bar: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Home // Slides // Reset</a:t>
            </a:r>
          </a:p>
          <a:p>
            <a:pPr algn="r"/>
            <a:endParaRPr lang="en-US" sz="999" dirty="0" smtClean="0">
              <a:solidFill>
                <a:srgbClr val="333333"/>
              </a:solidFill>
            </a:endParaRP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Change the slide layout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 smtClean="0">
              <a:solidFill>
                <a:srgbClr val="333333"/>
              </a:solidFill>
            </a:endParaRP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Design // Themes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(Right click: </a:t>
            </a:r>
            <a:r>
              <a:rPr lang="en-US" sz="999" i="1" dirty="0" smtClean="0">
                <a:solidFill>
                  <a:srgbClr val="333333"/>
                </a:solidFill>
              </a:rPr>
              <a:t>Apply to All Slides </a:t>
            </a:r>
            <a:r>
              <a:rPr lang="en-US" sz="999" dirty="0" smtClean="0">
                <a:solidFill>
                  <a:srgbClr val="333333"/>
                </a:solidFill>
              </a:rPr>
              <a:t>or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i="1" dirty="0" smtClean="0">
                <a:solidFill>
                  <a:srgbClr val="333333"/>
                </a:solidFill>
              </a:rPr>
              <a:t>Apply to Selected Slide</a:t>
            </a:r>
            <a:r>
              <a:rPr lang="en-US" sz="999" dirty="0" smtClean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Adjust footer (per slide or for several/all slides) via menu bar: Insert // Text //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1209337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en-US" sz="1999" dirty="0" smtClean="0">
              <a:solidFill>
                <a:prstClr val="black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6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noProof="0" dirty="0" smtClean="0"/>
              <a:t>Presentation title 30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on one line.</a:t>
            </a:r>
            <a:br>
              <a:rPr lang="en-US" noProof="0" dirty="0" smtClean="0"/>
            </a:br>
            <a:r>
              <a:rPr lang="en-US" noProof="0" dirty="0" smtClean="0"/>
              <a:t>On two lines possible.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 smtClean="0"/>
              <a:t>Additional text for presentation 1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</a:t>
            </a:r>
            <a:br>
              <a:rPr lang="en-US" noProof="0" dirty="0" smtClean="0"/>
            </a:br>
            <a:r>
              <a:rPr lang="en-US" noProof="0" dirty="0" smtClean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pic>
        <p:nvPicPr>
          <p:cNvPr id="12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7" y="-430988"/>
            <a:ext cx="1221702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Reset the slide back to its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original form via menu bar: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Home // Slides // Reset</a:t>
            </a:r>
          </a:p>
          <a:p>
            <a:pPr algn="r"/>
            <a:endParaRPr lang="en-US" sz="999" dirty="0" smtClean="0">
              <a:solidFill>
                <a:srgbClr val="333333"/>
              </a:solidFill>
            </a:endParaRP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Change the slide layout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 smtClean="0">
              <a:solidFill>
                <a:srgbClr val="333333"/>
              </a:solidFill>
            </a:endParaRP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Design // Themes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(Right click: </a:t>
            </a:r>
            <a:r>
              <a:rPr lang="en-US" sz="999" i="1" dirty="0" smtClean="0">
                <a:solidFill>
                  <a:srgbClr val="333333"/>
                </a:solidFill>
              </a:rPr>
              <a:t>Apply to All Slides </a:t>
            </a:r>
            <a:r>
              <a:rPr lang="en-US" sz="999" dirty="0" smtClean="0">
                <a:solidFill>
                  <a:srgbClr val="333333"/>
                </a:solidFill>
              </a:rPr>
              <a:t>or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i="1" dirty="0" smtClean="0">
                <a:solidFill>
                  <a:srgbClr val="333333"/>
                </a:solidFill>
              </a:rPr>
              <a:t>Apply to Selected Slide</a:t>
            </a:r>
            <a:r>
              <a:rPr lang="en-US" sz="999" dirty="0" smtClean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Adjust footer (per slide or for several/all slides) via menu bar: Insert // Text //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579968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en-US" sz="1999" dirty="0" smtClean="0">
              <a:solidFill>
                <a:prstClr val="black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6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noProof="0" dirty="0" smtClean="0"/>
              <a:t>Presentation title 30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on one line.</a:t>
            </a:r>
            <a:br>
              <a:rPr lang="en-US" noProof="0" dirty="0" smtClean="0"/>
            </a:br>
            <a:r>
              <a:rPr lang="en-US" noProof="0" dirty="0" smtClean="0"/>
              <a:t>On two lines possible.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 smtClean="0"/>
              <a:t>Additional text for presentation 1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</a:t>
            </a:r>
            <a:br>
              <a:rPr lang="en-US" noProof="0" dirty="0" smtClean="0"/>
            </a:br>
            <a:r>
              <a:rPr lang="en-US" noProof="0" dirty="0" smtClean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pic>
        <p:nvPicPr>
          <p:cNvPr id="12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7" y="-430988"/>
            <a:ext cx="1221702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Reset the slide back to its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original form via menu bar: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Home // Slides // Reset</a:t>
            </a:r>
          </a:p>
          <a:p>
            <a:pPr algn="r"/>
            <a:endParaRPr lang="en-US" sz="999" dirty="0" smtClean="0">
              <a:solidFill>
                <a:srgbClr val="333333"/>
              </a:solidFill>
            </a:endParaRP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Change the slide layout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 smtClean="0">
              <a:solidFill>
                <a:srgbClr val="333333"/>
              </a:solidFill>
            </a:endParaRP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Design // Themes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(Right click: </a:t>
            </a:r>
            <a:r>
              <a:rPr lang="en-US" sz="999" i="1" dirty="0" smtClean="0">
                <a:solidFill>
                  <a:srgbClr val="333333"/>
                </a:solidFill>
              </a:rPr>
              <a:t>Apply to All Slides </a:t>
            </a:r>
            <a:r>
              <a:rPr lang="en-US" sz="999" dirty="0" smtClean="0">
                <a:solidFill>
                  <a:srgbClr val="333333"/>
                </a:solidFill>
              </a:rPr>
              <a:t>or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i="1" dirty="0" smtClean="0">
                <a:solidFill>
                  <a:srgbClr val="333333"/>
                </a:solidFill>
              </a:rPr>
              <a:t>Apply to Selected Slide</a:t>
            </a:r>
            <a:r>
              <a:rPr lang="en-US" sz="999" dirty="0" smtClean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Adjust footer (per slide or for several/all slides) via menu bar: Insert // Text //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564978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1511300"/>
            <a:ext cx="11404800" cy="4140000"/>
          </a:xfrm>
        </p:spPr>
        <p:txBody>
          <a:bodyPr numCol="2" spcCol="244765"/>
          <a:lstStyle>
            <a:lvl1pPr marL="431723" indent="-431723">
              <a:buFont typeface="+mj-lt"/>
              <a:buAutoNum type="arabicPeriod"/>
              <a:defRPr baseline="0"/>
            </a:lvl1pPr>
            <a:lvl2pPr marL="863446" indent="-431723">
              <a:buFont typeface="+mj-lt"/>
              <a:buAutoNum type="alphaLcPeriod"/>
              <a:defRPr/>
            </a:lvl2pPr>
            <a:lvl3pPr marL="863446" indent="-431723">
              <a:buFont typeface="+mj-lt"/>
              <a:buAutoNum type="alphaLcPeriod"/>
              <a:defRPr sz="1999"/>
            </a:lvl3pPr>
            <a:lvl4pPr marL="863446" indent="-431723">
              <a:buFont typeface="+mj-lt"/>
              <a:buAutoNum type="alphaLcPeriod"/>
              <a:defRPr sz="1999"/>
            </a:lvl4pPr>
            <a:lvl5pPr marL="863446" indent="-431723">
              <a:buFont typeface="+mj-lt"/>
              <a:buAutoNum type="alphaLcPeriod"/>
              <a:defRPr sz="1999"/>
            </a:lvl5pPr>
            <a:lvl6pPr marL="863446" indent="-431723">
              <a:buFont typeface="+mj-lt"/>
              <a:buAutoNum type="alphaLcPeriod"/>
              <a:defRPr sz="1999"/>
            </a:lvl6pPr>
            <a:lvl7pPr marL="863446" indent="-431723">
              <a:buFont typeface="+mj-lt"/>
              <a:buAutoNum type="alphaLcPeriod"/>
              <a:defRPr sz="1999"/>
            </a:lvl7pPr>
            <a:lvl8pPr marL="863446" indent="-431723">
              <a:buFont typeface="+mj-lt"/>
              <a:buAutoNum type="alphaLcPeriod"/>
              <a:defRPr sz="1999"/>
            </a:lvl8pPr>
            <a:lvl9pPr marL="863446" indent="-431723">
              <a:buFont typeface="+mj-lt"/>
              <a:buAutoNum type="alphaLcPeriod"/>
              <a:defRPr sz="1999"/>
            </a:lvl9pPr>
          </a:lstStyle>
          <a:p>
            <a:pPr lvl="0"/>
            <a:r>
              <a:rPr lang="en-US" noProof="0" dirty="0" smtClean="0"/>
              <a:t>Insert agenda poin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// for sub-item: Home // Paragraph// Increase/Decrease List 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7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7225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1"/>
            <a:ext cx="114048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260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6" y="1512001"/>
            <a:ext cx="11405514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 smtClean="0"/>
              <a:t>Table headline in </a:t>
            </a:r>
            <a:r>
              <a:rPr lang="en-US" noProof="0" dirty="0" err="1" smtClean="0"/>
              <a:t>CorpoS</a:t>
            </a:r>
            <a:r>
              <a:rPr lang="en-US" dirty="0" smtClean="0"/>
              <a:t> (</a:t>
            </a:r>
            <a:r>
              <a:rPr lang="en-US" noProof="0" dirty="0" smtClean="0"/>
              <a:t>Body</a:t>
            </a:r>
            <a:r>
              <a:rPr lang="en-US" dirty="0" smtClean="0"/>
              <a:t>) in 20 pt. bold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 baseline="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 smtClean="0"/>
              <a:t>Table description  in </a:t>
            </a:r>
            <a:r>
              <a:rPr lang="en-US" noProof="0" dirty="0" err="1" smtClean="0"/>
              <a:t>CorpoS</a:t>
            </a:r>
            <a:r>
              <a:rPr lang="en-US" dirty="0" smtClean="0"/>
              <a:t> (</a:t>
            </a:r>
            <a:r>
              <a:rPr lang="en-US" noProof="0" dirty="0" err="1" smtClean="0"/>
              <a:t>Textkörper</a:t>
            </a:r>
            <a:r>
              <a:rPr lang="en-US" dirty="0" smtClean="0"/>
              <a:t>) in 15 pt. 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95375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 smtClean="0"/>
              <a:t>Description in </a:t>
            </a:r>
            <a:r>
              <a:rPr lang="en-US" noProof="0" dirty="0" err="1" smtClean="0"/>
              <a:t>CorpoS</a:t>
            </a:r>
            <a:r>
              <a:rPr lang="en-US" dirty="0" smtClean="0"/>
              <a:t> (</a:t>
            </a:r>
            <a:r>
              <a:rPr lang="en-US" noProof="0" dirty="0" err="1" smtClean="0"/>
              <a:t>Textkörper</a:t>
            </a:r>
            <a:r>
              <a:rPr lang="en-US" dirty="0" smtClean="0"/>
              <a:t>) in 15 pt. 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0"/>
            <a:ext cx="11404800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762724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480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1"/>
            <a:ext cx="5616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3869386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Presentation title in CorpoS (Body) 10 pt. | Department | Date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1"/>
            <a:ext cx="5580000" cy="49142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1"/>
            <a:ext cx="5580000" cy="4914201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smtClean="0"/>
              <a:t>CorpoS (Body), 20 pt. </a:t>
            </a:r>
            <a:r>
              <a:rPr lang="en-US" dirty="0" smtClean="0"/>
              <a:t>// for bullets: Home // Paragraph// In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82666546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7433" userDrawn="1">
          <p15:clr>
            <a:srgbClr val="A4A3A4"/>
          </p15:clr>
        </p15:guide>
        <p15:guide id="2" pos="249" userDrawn="1">
          <p15:clr>
            <a:srgbClr val="A4A3A4"/>
          </p15:clr>
        </p15:guide>
        <p15:guide id="3" orient="horz" pos="232" userDrawn="1">
          <p15:clr>
            <a:srgbClr val="A4A3A4"/>
          </p15:clr>
        </p15:guide>
        <p15:guide id="4" orient="horz" pos="954" userDrawn="1">
          <p15:clr>
            <a:srgbClr val="A4A3A4"/>
          </p15:clr>
        </p15:guide>
        <p15:guide id="5" orient="horz" pos="4049" userDrawn="1">
          <p15:clr>
            <a:srgbClr val="A4A3A4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1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1"/>
            <a:ext cx="5580000" cy="4914201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95720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8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8" y="3502801"/>
            <a:ext cx="5580000" cy="2923400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2" y="3502801"/>
            <a:ext cx="5580000" cy="2923400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589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6030980"/>
            <a:ext cx="11398862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333333"/>
                  </a:solidFill>
                </a:rPr>
                <a:t>Change image detail via menu bar: Picture Tools // Format // 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333333"/>
                  </a:solidFill>
                </a:rPr>
                <a:t>Image can be moved within the black boundaries, to adjust easily press Alt-key.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999" dirty="0" smtClean="0">
                  <a:solidFill>
                    <a:srgbClr val="333333"/>
                  </a:solidFill>
                </a:rPr>
              </a:br>
              <a:r>
                <a:rPr lang="en-US" sz="999" dirty="0" smtClean="0">
                  <a:solidFill>
                    <a:srgbClr val="333333"/>
                  </a:solidFill>
                </a:rPr>
                <a:t>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99" dirty="0" smtClean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dirty="0" smtClean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dirty="0" smtClean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dirty="0" smtClean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32365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1116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0378" y="52526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5" y="27584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5" y="15113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5" y="40055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3" y="1512000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3" y="2758867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3" y="4005734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3" y="52526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4" y="1512000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4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4" y="4005734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4" y="2758867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68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68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68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68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4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4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4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4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1" y="1512000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1" y="4005734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1" y="2758867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1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 bwMode="white">
          <a:xfrm>
            <a:off x="3993925" y="2098800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 bwMode="white">
          <a:xfrm>
            <a:off x="3993925" y="3345667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 bwMode="white">
          <a:xfrm flipH="1">
            <a:off x="7715158" y="20981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 bwMode="white">
          <a:xfrm>
            <a:off x="7715158" y="33452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 bwMode="white">
          <a:xfrm>
            <a:off x="7715158" y="45923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 bwMode="white">
          <a:xfrm>
            <a:off x="7711590" y="5839401"/>
            <a:ext cx="482813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 bwMode="white">
          <a:xfrm>
            <a:off x="3993925" y="5839401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 bwMode="white">
          <a:xfrm>
            <a:off x="3993925" y="4592534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ußzeilenplatzhalter 2"/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39662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2" y="2757600"/>
            <a:ext cx="6148800" cy="2421734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68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6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418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4" y="3851886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4" y="3383769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4" y="151130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4" y="198000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4" y="291565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4" y="4320000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4" y="2447534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2" y="1511300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3963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1944000"/>
          </a:xfrm>
          <a:solidFill>
            <a:schemeClr val="accent6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7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3501248"/>
            <a:ext cx="3752845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1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7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Foliennummernplatzhalter 2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4434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7218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2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2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2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2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97501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Presentation title in CorpoS (Body) 10 pt. | Department | Date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8" y="1511300"/>
            <a:ext cx="55800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8" y="3502801"/>
            <a:ext cx="5580000" cy="2923400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smtClean="0"/>
              <a:t>CorpoS (Body), 20 pt. </a:t>
            </a:r>
            <a:r>
              <a:rPr lang="en-US" dirty="0" smtClean="0"/>
              <a:t>// for bullets: Home // Paragraph// In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2" y="3502801"/>
            <a:ext cx="5580000" cy="2923400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smtClean="0"/>
              <a:t>CorpoS (Body), 20 pt. </a:t>
            </a:r>
            <a:r>
              <a:rPr lang="en-US" dirty="0" smtClean="0"/>
              <a:t>// for bullets: Home // Paragraph// In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00689766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49" userDrawn="1">
          <p15:clr>
            <a:srgbClr val="A4A3A4"/>
          </p15:clr>
        </p15:guide>
        <p15:guide id="2" pos="7433" userDrawn="1">
          <p15:clr>
            <a:srgbClr val="A4A3A4"/>
          </p15:clr>
        </p15:guide>
        <p15:guide id="3" orient="horz" pos="232" userDrawn="1">
          <p15:clr>
            <a:srgbClr val="A4A3A4"/>
          </p15:clr>
        </p15:guide>
        <p15:guide id="4" orient="horz" pos="953" userDrawn="1">
          <p15:clr>
            <a:srgbClr val="A4A3A4"/>
          </p15:clr>
        </p15:guide>
        <p15:guide id="5" orient="horz" pos="4049" userDrawn="1">
          <p15:clr>
            <a:srgbClr val="A4A3A4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4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6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4010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de-DE" sz="1999" dirty="0" smtClean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// for bullets: Home // Paragraph// Increase List 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chemeClr val="accent6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29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78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69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69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4072659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de-DE" sz="1999" dirty="0" smtClean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// for bullets: Home // Paragraph// Increase List 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3495678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78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6" y="3495678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68"/>
            <a:ext cx="37548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54634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 with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4526573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395795" y="1786681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395795" y="462604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395795" y="3206363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5795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4526573" y="6043658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395795" y="6045725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8846408" y="178616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8846408" y="462449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8846408" y="320532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8846408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8846408" y="6043658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44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45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7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1543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2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0"/>
            <a:ext cx="2994158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2" y="1155600"/>
            <a:ext cx="2994158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2" y="4619700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55080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95082" y="1512001"/>
            <a:ext cx="5508000" cy="2949301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99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1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2298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1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0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1"/>
            <a:ext cx="2993642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5774400"/>
            <a:ext cx="2994158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2" y="2309400"/>
            <a:ext cx="2994158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2" y="0"/>
            <a:ext cx="2994158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56646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2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57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57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0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0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0"/>
            <a:ext cx="299364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15203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540000"/>
          </a:xfrm>
        </p:spPr>
        <p:txBody>
          <a:bodyPr/>
          <a:lstStyle>
            <a:lvl1pPr>
              <a:defRPr sz="2999" baseline="0"/>
            </a:lvl1pPr>
          </a:lstStyle>
          <a:p>
            <a:r>
              <a:rPr lang="en-US" noProof="0" dirty="0" smtClean="0"/>
              <a:t>Optional headline on one line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endParaRPr lang="en-US" noProof="0" dirty="0"/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5662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en-US" sz="1999" dirty="0" smtClean="0">
              <a:solidFill>
                <a:prstClr val="black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noProof="0" dirty="0" smtClean="0"/>
              <a:t>Presentation title 30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on one line.</a:t>
            </a:r>
            <a:br>
              <a:rPr lang="en-US" noProof="0" dirty="0" smtClean="0"/>
            </a:br>
            <a:r>
              <a:rPr lang="en-US" noProof="0" dirty="0" smtClean="0"/>
              <a:t>On two lines possible.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 smtClean="0"/>
              <a:t>Additional text for presentation 1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</a:t>
            </a:r>
            <a:br>
              <a:rPr lang="en-US" noProof="0" dirty="0" smtClean="0"/>
            </a:br>
            <a:r>
              <a:rPr lang="en-US" noProof="0" dirty="0" smtClean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pic>
        <p:nvPicPr>
          <p:cNvPr id="12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7" y="-430988"/>
            <a:ext cx="1221702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Reset the slide back to its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original form via menu bar: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Home // Slides // Reset</a:t>
            </a:r>
          </a:p>
          <a:p>
            <a:pPr algn="r"/>
            <a:endParaRPr lang="en-US" sz="999" dirty="0" smtClean="0">
              <a:solidFill>
                <a:srgbClr val="333333"/>
              </a:solidFill>
            </a:endParaRP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Change the slide layout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 smtClean="0">
              <a:solidFill>
                <a:srgbClr val="333333"/>
              </a:solidFill>
            </a:endParaRP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Design // Themes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(Right click: </a:t>
            </a:r>
            <a:r>
              <a:rPr lang="en-US" sz="999" i="1" dirty="0" smtClean="0">
                <a:solidFill>
                  <a:srgbClr val="333333"/>
                </a:solidFill>
              </a:rPr>
              <a:t>Apply to All Slides </a:t>
            </a:r>
            <a:r>
              <a:rPr lang="en-US" sz="999" dirty="0" smtClean="0">
                <a:solidFill>
                  <a:srgbClr val="333333"/>
                </a:solidFill>
              </a:rPr>
              <a:t>or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i="1" dirty="0" smtClean="0">
                <a:solidFill>
                  <a:srgbClr val="333333"/>
                </a:solidFill>
              </a:rPr>
              <a:t>Apply to Selected Slide</a:t>
            </a:r>
            <a:r>
              <a:rPr lang="en-US" sz="999" dirty="0" smtClean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Adjust footer (per slide or for several/all slides) via menu bar: Insert // Text //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4278782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en-US" sz="1999" dirty="0" smtClean="0">
              <a:solidFill>
                <a:prstClr val="black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6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noProof="0" dirty="0" smtClean="0"/>
              <a:t>Presentation title 30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on one line.</a:t>
            </a:r>
            <a:br>
              <a:rPr lang="en-US" noProof="0" dirty="0" smtClean="0"/>
            </a:br>
            <a:r>
              <a:rPr lang="en-US" noProof="0" dirty="0" smtClean="0"/>
              <a:t>On two lines possible.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 smtClean="0"/>
              <a:t>Additional text for presentation 1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</a:t>
            </a:r>
            <a:br>
              <a:rPr lang="en-US" noProof="0" dirty="0" smtClean="0"/>
            </a:br>
            <a:r>
              <a:rPr lang="en-US" noProof="0" dirty="0" smtClean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pic>
        <p:nvPicPr>
          <p:cNvPr id="12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7" y="-430988"/>
            <a:ext cx="1221702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Reset the slide back to its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original form via menu bar: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Home // Slides // Reset</a:t>
            </a:r>
          </a:p>
          <a:p>
            <a:pPr algn="r"/>
            <a:endParaRPr lang="en-US" sz="999" dirty="0" smtClean="0">
              <a:solidFill>
                <a:srgbClr val="333333"/>
              </a:solidFill>
            </a:endParaRP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Change the slide layout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 smtClean="0">
              <a:solidFill>
                <a:srgbClr val="333333"/>
              </a:solidFill>
            </a:endParaRP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Design // Themes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(Right click: </a:t>
            </a:r>
            <a:r>
              <a:rPr lang="en-US" sz="999" i="1" dirty="0" smtClean="0">
                <a:solidFill>
                  <a:srgbClr val="333333"/>
                </a:solidFill>
              </a:rPr>
              <a:t>Apply to All Slides </a:t>
            </a:r>
            <a:r>
              <a:rPr lang="en-US" sz="999" dirty="0" smtClean="0">
                <a:solidFill>
                  <a:srgbClr val="333333"/>
                </a:solidFill>
              </a:rPr>
              <a:t>or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i="1" dirty="0" smtClean="0">
                <a:solidFill>
                  <a:srgbClr val="333333"/>
                </a:solidFill>
              </a:rPr>
              <a:t>Apply to Selected Slide</a:t>
            </a:r>
            <a:r>
              <a:rPr lang="en-US" sz="999" dirty="0" smtClean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Adjust footer (per slide or for several/all slides) via menu bar: Insert // Text //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16782016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// Cap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Presentation title in CorpoS (Body) 10 pt. | Department | Date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11404800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6030980"/>
            <a:ext cx="11398862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 smtClean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 smtClean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 smtClean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 smtClean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 smtClean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 smtClean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 smtClean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 smtClean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1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6499196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049" userDrawn="1">
          <p15:clr>
            <a:srgbClr val="A4A3A4"/>
          </p15:clr>
        </p15:guide>
        <p15:guide id="2" orient="horz" pos="953" userDrawn="1">
          <p15:clr>
            <a:srgbClr val="A4A3A4"/>
          </p15:clr>
        </p15:guide>
        <p15:guide id="3" orient="horz" pos="232" userDrawn="1">
          <p15:clr>
            <a:srgbClr val="A4A3A4"/>
          </p15:clr>
        </p15:guide>
        <p15:guide id="4" pos="249" userDrawn="1">
          <p15:clr>
            <a:srgbClr val="A4A3A4"/>
          </p15:clr>
        </p15:guide>
        <p15:guide id="5" pos="7433" userDrawn="1">
          <p15:clr>
            <a:srgbClr val="A4A3A4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en-US" sz="1999" dirty="0" smtClean="0">
              <a:solidFill>
                <a:prstClr val="black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6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noProof="0" dirty="0" smtClean="0"/>
              <a:t>Presentation title 30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on one line.</a:t>
            </a:r>
            <a:br>
              <a:rPr lang="en-US" noProof="0" dirty="0" smtClean="0"/>
            </a:br>
            <a:r>
              <a:rPr lang="en-US" noProof="0" dirty="0" smtClean="0"/>
              <a:t>On two lines possible.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 smtClean="0"/>
              <a:t>Additional text for presentation 1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</a:t>
            </a:r>
            <a:br>
              <a:rPr lang="en-US" noProof="0" dirty="0" smtClean="0"/>
            </a:br>
            <a:r>
              <a:rPr lang="en-US" noProof="0" dirty="0" smtClean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pic>
        <p:nvPicPr>
          <p:cNvPr id="12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7" y="-430988"/>
            <a:ext cx="1221702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Reset the slide back to its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original form via menu bar: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Home // Slides // Reset</a:t>
            </a:r>
          </a:p>
          <a:p>
            <a:pPr algn="r"/>
            <a:endParaRPr lang="en-US" sz="999" dirty="0" smtClean="0">
              <a:solidFill>
                <a:srgbClr val="333333"/>
              </a:solidFill>
            </a:endParaRP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Change the slide layout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 smtClean="0">
              <a:solidFill>
                <a:srgbClr val="333333"/>
              </a:solidFill>
            </a:endParaRP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Design // Themes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(Right click: </a:t>
            </a:r>
            <a:r>
              <a:rPr lang="en-US" sz="999" i="1" dirty="0" smtClean="0">
                <a:solidFill>
                  <a:srgbClr val="333333"/>
                </a:solidFill>
              </a:rPr>
              <a:t>Apply to All Slides </a:t>
            </a:r>
            <a:r>
              <a:rPr lang="en-US" sz="999" dirty="0" smtClean="0">
                <a:solidFill>
                  <a:srgbClr val="333333"/>
                </a:solidFill>
              </a:rPr>
              <a:t>or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i="1" dirty="0" smtClean="0">
                <a:solidFill>
                  <a:srgbClr val="333333"/>
                </a:solidFill>
              </a:rPr>
              <a:t>Apply to Selected Slide</a:t>
            </a:r>
            <a:r>
              <a:rPr lang="en-US" sz="999" dirty="0" smtClean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Adjust footer (per slide or for several/all slides) via menu bar: Insert // Text //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737213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1511300"/>
            <a:ext cx="11404800" cy="4140000"/>
          </a:xfrm>
        </p:spPr>
        <p:txBody>
          <a:bodyPr numCol="2" spcCol="244765"/>
          <a:lstStyle>
            <a:lvl1pPr marL="431723" indent="-431723">
              <a:buFont typeface="+mj-lt"/>
              <a:buAutoNum type="arabicPeriod"/>
              <a:defRPr baseline="0"/>
            </a:lvl1pPr>
            <a:lvl2pPr marL="863446" indent="-431723">
              <a:buFont typeface="+mj-lt"/>
              <a:buAutoNum type="alphaLcPeriod"/>
              <a:defRPr/>
            </a:lvl2pPr>
            <a:lvl3pPr marL="863446" indent="-431723">
              <a:buFont typeface="+mj-lt"/>
              <a:buAutoNum type="alphaLcPeriod"/>
              <a:defRPr sz="1999"/>
            </a:lvl3pPr>
            <a:lvl4pPr marL="863446" indent="-431723">
              <a:buFont typeface="+mj-lt"/>
              <a:buAutoNum type="alphaLcPeriod"/>
              <a:defRPr sz="1999"/>
            </a:lvl4pPr>
            <a:lvl5pPr marL="863446" indent="-431723">
              <a:buFont typeface="+mj-lt"/>
              <a:buAutoNum type="alphaLcPeriod"/>
              <a:defRPr sz="1999"/>
            </a:lvl5pPr>
            <a:lvl6pPr marL="863446" indent="-431723">
              <a:buFont typeface="+mj-lt"/>
              <a:buAutoNum type="alphaLcPeriod"/>
              <a:defRPr sz="1999"/>
            </a:lvl6pPr>
            <a:lvl7pPr marL="863446" indent="-431723">
              <a:buFont typeface="+mj-lt"/>
              <a:buAutoNum type="alphaLcPeriod"/>
              <a:defRPr sz="1999"/>
            </a:lvl7pPr>
            <a:lvl8pPr marL="863446" indent="-431723">
              <a:buFont typeface="+mj-lt"/>
              <a:buAutoNum type="alphaLcPeriod"/>
              <a:defRPr sz="1999"/>
            </a:lvl8pPr>
            <a:lvl9pPr marL="863446" indent="-431723">
              <a:buFont typeface="+mj-lt"/>
              <a:buAutoNum type="alphaLcPeriod"/>
              <a:defRPr sz="1999"/>
            </a:lvl9pPr>
          </a:lstStyle>
          <a:p>
            <a:pPr lvl="0"/>
            <a:r>
              <a:rPr lang="en-US" noProof="0" dirty="0" smtClean="0"/>
              <a:t>Insert agenda poin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// for sub-item: Home // Paragraph// Increase/Decrease List 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7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061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1"/>
            <a:ext cx="114048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25149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6" y="1512001"/>
            <a:ext cx="11405514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 smtClean="0"/>
              <a:t>Table headline in </a:t>
            </a:r>
            <a:r>
              <a:rPr lang="en-US" noProof="0" dirty="0" err="1" smtClean="0"/>
              <a:t>CorpoS</a:t>
            </a:r>
            <a:r>
              <a:rPr lang="en-US" dirty="0" smtClean="0"/>
              <a:t> (</a:t>
            </a:r>
            <a:r>
              <a:rPr lang="en-US" noProof="0" dirty="0" smtClean="0"/>
              <a:t>Body</a:t>
            </a:r>
            <a:r>
              <a:rPr lang="en-US" dirty="0" smtClean="0"/>
              <a:t>) in 20 pt. bold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 baseline="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 smtClean="0"/>
              <a:t>Table description  in </a:t>
            </a:r>
            <a:r>
              <a:rPr lang="en-US" noProof="0" dirty="0" err="1" smtClean="0"/>
              <a:t>CorpoS</a:t>
            </a:r>
            <a:r>
              <a:rPr lang="en-US" dirty="0" smtClean="0"/>
              <a:t> (</a:t>
            </a:r>
            <a:r>
              <a:rPr lang="en-US" noProof="0" dirty="0" err="1" smtClean="0"/>
              <a:t>Textkörper</a:t>
            </a:r>
            <a:r>
              <a:rPr lang="en-US" dirty="0" smtClean="0"/>
              <a:t>) in 15 pt. 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425109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 smtClean="0"/>
              <a:t>Description in </a:t>
            </a:r>
            <a:r>
              <a:rPr lang="en-US" noProof="0" dirty="0" err="1" smtClean="0"/>
              <a:t>CorpoS</a:t>
            </a:r>
            <a:r>
              <a:rPr lang="en-US" dirty="0" smtClean="0"/>
              <a:t> (</a:t>
            </a:r>
            <a:r>
              <a:rPr lang="en-US" noProof="0" dirty="0" err="1" smtClean="0"/>
              <a:t>Textkörper</a:t>
            </a:r>
            <a:r>
              <a:rPr lang="en-US" dirty="0" smtClean="0"/>
              <a:t>) in 15 pt. 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0"/>
            <a:ext cx="11404800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29684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480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1"/>
            <a:ext cx="5616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057946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1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1"/>
            <a:ext cx="5580000" cy="4914201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8690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8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8" y="3502801"/>
            <a:ext cx="5580000" cy="2923400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2" y="3502801"/>
            <a:ext cx="5580000" cy="2923400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9370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6030980"/>
            <a:ext cx="11398862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333333"/>
                  </a:solidFill>
                </a:rPr>
                <a:t>Change image detail via menu bar: Picture Tools // Format // 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333333"/>
                  </a:solidFill>
                </a:rPr>
                <a:t>Image can be moved within the black boundaries, to adjust easily press Alt-key.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999" dirty="0" smtClean="0">
                  <a:solidFill>
                    <a:srgbClr val="333333"/>
                  </a:solidFill>
                </a:rPr>
              </a:br>
              <a:r>
                <a:rPr lang="en-US" sz="999" dirty="0" smtClean="0">
                  <a:solidFill>
                    <a:srgbClr val="333333"/>
                  </a:solidFill>
                </a:rPr>
                <a:t>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99" dirty="0" smtClean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dirty="0" smtClean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dirty="0" smtClean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dirty="0" smtClean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7769847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98246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Presentation title in CorpoS (Body) 10 pt. | Department | Date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86000292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49" userDrawn="1">
          <p15:clr>
            <a:srgbClr val="A4A3A4"/>
          </p15:clr>
        </p15:guide>
        <p15:guide id="2" pos="7433" userDrawn="1">
          <p15:clr>
            <a:srgbClr val="A4A3A4"/>
          </p15:clr>
        </p15:guide>
        <p15:guide id="3" orient="horz" pos="232" userDrawn="1">
          <p15:clr>
            <a:srgbClr val="A4A3A4"/>
          </p15:clr>
        </p15:guide>
        <p15:guide id="4" orient="horz" pos="953" userDrawn="1">
          <p15:clr>
            <a:srgbClr val="A4A3A4"/>
          </p15:clr>
        </p15:guide>
        <p15:guide id="5" orient="horz" pos="4049" userDrawn="1">
          <p15:clr>
            <a:srgbClr val="A4A3A4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0378" y="52526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5" y="27584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5" y="15113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5" y="40055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3" y="1512000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3" y="2758867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3" y="4005734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3" y="52526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4" y="1512000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4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4" y="4005734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4" y="2758867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68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68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68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68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4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4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4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4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1" y="1512000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1" y="4005734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1" y="2758867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1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 bwMode="white">
          <a:xfrm>
            <a:off x="3993925" y="2098800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 bwMode="white">
          <a:xfrm>
            <a:off x="3993925" y="3345667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 bwMode="white">
          <a:xfrm flipH="1">
            <a:off x="7715158" y="20981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 bwMode="white">
          <a:xfrm>
            <a:off x="7715158" y="33452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 bwMode="white">
          <a:xfrm>
            <a:off x="7715158" y="45923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 bwMode="white">
          <a:xfrm>
            <a:off x="7711590" y="5839401"/>
            <a:ext cx="482813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 bwMode="white">
          <a:xfrm>
            <a:off x="3993925" y="5839401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 bwMode="white">
          <a:xfrm>
            <a:off x="3993925" y="4592534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ußzeilenplatzhalter 2"/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2578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2" y="2757600"/>
            <a:ext cx="6148800" cy="2421734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68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6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2070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4" y="3851886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4" y="3383769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4" y="151130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4" y="198000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4" y="291565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4" y="4320000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4" y="2447534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2" y="1511300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95948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1944000"/>
          </a:xfrm>
          <a:solidFill>
            <a:schemeClr val="accent6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7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3501248"/>
            <a:ext cx="3752845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1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7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Foliennummernplatzhalter 2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31852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1312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2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2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2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2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408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4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6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3333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de-DE" sz="1999" dirty="0" smtClean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// for bullets: Home // Paragraph// Increase List 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chemeClr val="accent6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29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78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69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69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352757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de-DE" sz="1999" dirty="0" smtClean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// for bullets: Home // Paragraph// Increase List 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3495678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78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6" y="3495678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68"/>
            <a:ext cx="37548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540553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 with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4526573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395795" y="1786681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395795" y="462604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395795" y="3206363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5795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4526573" y="6043658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395795" y="6045725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8846408" y="178616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8846408" y="462449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8846408" y="320532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8846408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8846408" y="6043658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44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45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7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9567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3" y="5252601"/>
            <a:ext cx="1511213" cy="1173600"/>
          </a:xfrm>
          <a:solidFill>
            <a:schemeClr val="tx2"/>
          </a:solidFill>
        </p:spPr>
        <p:txBody>
          <a:bodyPr lIns="72000" rIns="7200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Insert text in CorpoS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 </a:t>
            </a:r>
            <a:endParaRPr lang="en-US" noProof="0" dirty="0" smtClean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Presentation title in CorpoS (Body) 10 pt. | Department | Date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3" y="1511301"/>
            <a:ext cx="1511213" cy="1173600"/>
          </a:xfrm>
          <a:solidFill>
            <a:schemeClr val="tx2"/>
          </a:solidFill>
        </p:spPr>
        <p:txBody>
          <a:bodyPr lIns="72000" rIns="7200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Insert text in CorpoS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 </a:t>
            </a:r>
            <a:endParaRPr lang="en-US" noProof="0" dirty="0" smtClean="0"/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3" y="2758401"/>
            <a:ext cx="1511213" cy="1173600"/>
          </a:xfrm>
          <a:solidFill>
            <a:schemeClr val="tx2"/>
          </a:solidFill>
        </p:spPr>
        <p:txBody>
          <a:bodyPr lIns="72000" rIns="7200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Insert text in CorpoS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 </a:t>
            </a:r>
            <a:endParaRPr lang="en-US" noProof="0" dirty="0" smtClean="0"/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3" y="4005501"/>
            <a:ext cx="1511213" cy="1173600"/>
          </a:xfrm>
          <a:solidFill>
            <a:schemeClr val="tx2"/>
          </a:solidFill>
        </p:spPr>
        <p:txBody>
          <a:bodyPr lIns="72000" rIns="7200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Insert text in CorpoS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 </a:t>
            </a:r>
            <a:endParaRPr lang="en-US" noProof="0" dirty="0" smtClean="0"/>
          </a:p>
        </p:txBody>
      </p:sp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3945" y="5252601"/>
            <a:ext cx="1511213" cy="1173600"/>
          </a:xfrm>
          <a:solidFill>
            <a:schemeClr val="tx2"/>
          </a:solidFill>
        </p:spPr>
        <p:txBody>
          <a:bodyPr lIns="72000" rIns="7200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5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5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5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5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5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5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5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599"/>
            </a:lvl9pPr>
          </a:lstStyle>
          <a:p>
            <a:pPr lvl="0"/>
            <a:r>
              <a:rPr lang="en-US" noProof="0" dirty="0" smtClean="0"/>
              <a:t>Insert text in CorpoS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 </a:t>
            </a:r>
            <a:endParaRPr lang="en-US" noProof="0" dirty="0" smtClean="0"/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5" y="2758401"/>
            <a:ext cx="1511213" cy="1173600"/>
          </a:xfrm>
          <a:solidFill>
            <a:schemeClr val="tx2"/>
          </a:solidFill>
        </p:spPr>
        <p:txBody>
          <a:bodyPr lIns="72000" rIns="7200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Insert text in CorpoS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 </a:t>
            </a:r>
            <a:endParaRPr lang="en-US" noProof="0" dirty="0" smtClean="0"/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5" y="4005501"/>
            <a:ext cx="1511213" cy="1173600"/>
          </a:xfrm>
          <a:solidFill>
            <a:schemeClr val="tx2"/>
          </a:solidFill>
        </p:spPr>
        <p:txBody>
          <a:bodyPr lIns="72000" rIns="7200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Insert text in CorpoS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 </a:t>
            </a:r>
            <a:endParaRPr lang="en-US" noProof="0" dirty="0" smtClean="0"/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5" y="1511301"/>
            <a:ext cx="1511213" cy="1173600"/>
          </a:xfrm>
          <a:solidFill>
            <a:schemeClr val="tx2"/>
          </a:solidFill>
        </p:spPr>
        <p:txBody>
          <a:bodyPr lIns="72000" rIns="7200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Insert text in CorpoS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 </a:t>
            </a:r>
            <a:endParaRPr lang="en-US" noProof="0" dirty="0" smtClean="0"/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4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CorpoS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4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CorpoS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4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CorpoS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4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CorpoS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68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CorpoS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68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CorpoS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68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CorpoS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68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CorpoS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4" y="15113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4" y="40055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4" y="27584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4" y="52526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1" y="15113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1" y="40055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1" y="27584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1" y="52526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 bwMode="gray">
          <a:xfrm>
            <a:off x="3993925" y="2098101"/>
            <a:ext cx="482918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 bwMode="gray">
          <a:xfrm>
            <a:off x="3993925" y="3345201"/>
            <a:ext cx="482918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 bwMode="gray">
          <a:xfrm flipH="1">
            <a:off x="7715158" y="20981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 bwMode="gray">
          <a:xfrm>
            <a:off x="7715158" y="33452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 bwMode="gray">
          <a:xfrm>
            <a:off x="7715158" y="45923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 bwMode="gray">
          <a:xfrm>
            <a:off x="7715158" y="5839401"/>
            <a:ext cx="479245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 bwMode="gray">
          <a:xfrm>
            <a:off x="3993925" y="5839401"/>
            <a:ext cx="482918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 bwMode="gray">
          <a:xfrm>
            <a:off x="3993925" y="4592301"/>
            <a:ext cx="482918" cy="0"/>
          </a:xfrm>
          <a:prstGeom prst="line">
            <a:avLst/>
          </a:prstGeom>
          <a:ln w="317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platzhalter 3"/>
          <p:cNvSpPr>
            <a:spLocks noGrp="1"/>
          </p:cNvSpPr>
          <p:nvPr>
            <p:ph type="body" sz="quarter" idx="4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43" name="Textplatzhalter 3"/>
          <p:cNvSpPr>
            <a:spLocks noGrp="1"/>
          </p:cNvSpPr>
          <p:nvPr>
            <p:ph type="body" sz="quarter" idx="4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4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38300373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049" userDrawn="1">
          <p15:clr>
            <a:srgbClr val="A4A3A4"/>
          </p15:clr>
        </p15:guide>
        <p15:guide id="2" pos="249" userDrawn="1">
          <p15:clr>
            <a:srgbClr val="A4A3A4"/>
          </p15:clr>
        </p15:guide>
        <p15:guide id="3" orient="horz" pos="953" userDrawn="1">
          <p15:clr>
            <a:srgbClr val="A4A3A4"/>
          </p15:clr>
        </p15:guide>
        <p15:guide id="4" orient="horz" pos="232" userDrawn="1">
          <p15:clr>
            <a:srgbClr val="A4A3A4"/>
          </p15:clr>
        </p15:guide>
        <p15:guide id="5" pos="7433" userDrawn="1">
          <p15:clr>
            <a:srgbClr val="A4A3A4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2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0"/>
            <a:ext cx="2994158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2" y="1155600"/>
            <a:ext cx="2994158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2" y="4619700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55080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95082" y="1512001"/>
            <a:ext cx="5508000" cy="2949301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99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1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4605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1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0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1"/>
            <a:ext cx="2993642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5774400"/>
            <a:ext cx="2994158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2" y="2309400"/>
            <a:ext cx="2994158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2" y="0"/>
            <a:ext cx="2994158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64884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2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57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57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0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0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0"/>
            <a:ext cx="299364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78644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540000"/>
          </a:xfrm>
        </p:spPr>
        <p:txBody>
          <a:bodyPr/>
          <a:lstStyle>
            <a:lvl1pPr>
              <a:defRPr sz="2999" baseline="0"/>
            </a:lvl1pPr>
          </a:lstStyle>
          <a:p>
            <a:r>
              <a:rPr lang="en-US" noProof="0" dirty="0" smtClean="0"/>
              <a:t>Optional headline on one line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endParaRPr lang="en-US" noProof="0" dirty="0"/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8864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2 Bilder/2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8" y="368300"/>
            <a:ext cx="11400249" cy="1008360"/>
          </a:xfrm>
        </p:spPr>
        <p:txBody>
          <a:bodyPr/>
          <a:lstStyle/>
          <a:p>
            <a:r>
              <a:rPr lang="en-GB" noProof="0" dirty="0" smtClean="0"/>
              <a:t>Headline on two lines in CorpoA (Headings) 30 pt. </a:t>
            </a:r>
            <a:br>
              <a:rPr lang="en-GB" noProof="0" dirty="0" smtClean="0"/>
            </a:br>
            <a:r>
              <a:rPr lang="en-GB" noProof="0" dirty="0" smtClean="0"/>
              <a:t>Lorem ipsum </a:t>
            </a:r>
            <a:r>
              <a:rPr lang="en-GB" noProof="0" dirty="0" err="1" smtClean="0"/>
              <a:t>dolor</a:t>
            </a:r>
            <a:r>
              <a:rPr lang="en-GB" noProof="0" dirty="0" smtClean="0"/>
              <a:t> sit </a:t>
            </a:r>
            <a:r>
              <a:rPr lang="en-GB" noProof="0" dirty="0" err="1" smtClean="0"/>
              <a:t>amet</a:t>
            </a:r>
            <a:r>
              <a:rPr lang="en-GB" noProof="0" dirty="0" smtClean="0"/>
              <a:t>.</a:t>
            </a:r>
            <a:endParaRPr lang="en-GB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GB" noProof="0" dirty="0" smtClean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4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 smtClean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7709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image</a:t>
            </a:r>
            <a:endParaRPr lang="en-GB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42" y="1511300"/>
            <a:ext cx="557709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/>
            </a:r>
            <a:br>
              <a:rPr lang="en-GB" noProof="0" dirty="0" smtClean="0"/>
            </a:br>
            <a:r>
              <a:rPr lang="en-GB" noProof="0" dirty="0" smtClean="0"/>
              <a:t>Insert image</a:t>
            </a:r>
            <a:endParaRPr lang="en-GB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42" y="3502801"/>
            <a:ext cx="5577094" cy="2923400"/>
          </a:xfrm>
        </p:spPr>
        <p:txBody>
          <a:bodyPr/>
          <a:lstStyle/>
          <a:p>
            <a:pPr lvl="0"/>
            <a:r>
              <a:rPr lang="en-GB" dirty="0" smtClean="0"/>
              <a:t>Insert text in </a:t>
            </a:r>
            <a:r>
              <a:rPr lang="en-GB" noProof="0" dirty="0" err="1" smtClean="0"/>
              <a:t>CorpoS</a:t>
            </a:r>
            <a:r>
              <a:rPr lang="en-GB" noProof="0" dirty="0" smtClean="0"/>
              <a:t> (Body), 20 pt. </a:t>
            </a:r>
            <a:r>
              <a:rPr lang="en-GB" dirty="0" smtClean="0"/>
              <a:t>// for bullets: Home // Paragraph// Increase/De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6" y="3502801"/>
            <a:ext cx="5577094" cy="2923400"/>
          </a:xfrm>
        </p:spPr>
        <p:txBody>
          <a:bodyPr/>
          <a:lstStyle/>
          <a:p>
            <a:pPr lvl="0"/>
            <a:r>
              <a:rPr lang="en-GB" dirty="0" smtClean="0"/>
              <a:t>Insert text in </a:t>
            </a:r>
            <a:r>
              <a:rPr lang="en-GB" noProof="0" dirty="0" err="1" smtClean="0"/>
              <a:t>CorpoS</a:t>
            </a:r>
            <a:r>
              <a:rPr lang="en-GB" noProof="0" dirty="0" smtClean="0"/>
              <a:t> (Body), 20 pt. </a:t>
            </a:r>
            <a:r>
              <a:rPr lang="en-GB" dirty="0" smtClean="0"/>
              <a:t>// for bullets: Home // Paragraph// Increase/De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white"/>
                </a:solidFill>
              </a:rPr>
              <a:t>Presentation title in CorpoS (Body) 9 pt | Department | Date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1D1349-391B-44DC-865F-5996B3E40F26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16" name="Bildhandling"/>
          <p:cNvGrpSpPr/>
          <p:nvPr userDrawn="1"/>
        </p:nvGrpSpPr>
        <p:grpSpPr>
          <a:xfrm>
            <a:off x="12298399" y="403200"/>
            <a:ext cx="1799063" cy="6584747"/>
            <a:chOff x="12304800" y="403200"/>
            <a:chExt cx="1800000" cy="6584747"/>
          </a:xfrm>
        </p:grpSpPr>
        <p:sp>
          <p:nvSpPr>
            <p:cNvPr id="17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GB" sz="999" dirty="0" smtClean="0">
                  <a:solidFill>
                    <a:srgbClr val="333333"/>
                  </a:solidFill>
                </a:rPr>
                <a:t>Change image detail via menu bar: Picture Tools // Format // 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GB" sz="999" dirty="0" smtClean="0">
                  <a:solidFill>
                    <a:srgbClr val="333333"/>
                  </a:solidFill>
                </a:rPr>
                <a:t>Image can be moved within the black boundaries, to adjust easily press Alt-key.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GB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GB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GB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GB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GB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GB" sz="999" dirty="0" smtClean="0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GB" sz="999" dirty="0" smtClean="0">
                  <a:solidFill>
                    <a:srgbClr val="333333"/>
                  </a:solidFill>
                </a:rPr>
              </a:br>
              <a:r>
                <a:rPr lang="en-GB" sz="999" dirty="0" smtClean="0">
                  <a:solidFill>
                    <a:srgbClr val="333333"/>
                  </a:solidFill>
                </a:rPr>
                <a:t>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GB" sz="999" dirty="0" smtClean="0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GB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GB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GB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GB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GB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GB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GB" sz="999" dirty="0" smtClean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GB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GB" sz="999" dirty="0" smtClean="0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GB" sz="999" dirty="0" smtClean="0">
                <a:solidFill>
                  <a:srgbClr val="333333"/>
                </a:solidFill>
              </a:endParaRPr>
            </a:p>
          </p:txBody>
        </p:sp>
        <p:pic>
          <p:nvPicPr>
            <p:cNvPr id="18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sz="1499" dirty="0" smtClean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GB" sz="1499" b="1" dirty="0" smtClean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GB" sz="999" b="1" dirty="0" smtClean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GB" sz="1499" b="1" dirty="0" smtClean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21" name="Beispielbild"/>
            <p:cNvPicPr>
              <a:picLocks noChangeAspect="1" noChangeArrowheads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33675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en-US" sz="1999" dirty="0" smtClean="0">
              <a:solidFill>
                <a:prstClr val="black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noProof="0" dirty="0" smtClean="0"/>
              <a:t>Presentation title 30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on one line.</a:t>
            </a:r>
            <a:br>
              <a:rPr lang="en-US" noProof="0" dirty="0" smtClean="0"/>
            </a:br>
            <a:r>
              <a:rPr lang="en-US" noProof="0" dirty="0" smtClean="0"/>
              <a:t>On two lines possible.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 smtClean="0"/>
              <a:t>Additional text for presentation 1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</a:t>
            </a:r>
            <a:br>
              <a:rPr lang="en-US" noProof="0" dirty="0" smtClean="0"/>
            </a:br>
            <a:r>
              <a:rPr lang="en-US" noProof="0" dirty="0" smtClean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pic>
        <p:nvPicPr>
          <p:cNvPr id="12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7" y="-430988"/>
            <a:ext cx="1221702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Reset the slide back to its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original form via menu bar: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Home // Slides // Reset</a:t>
            </a:r>
          </a:p>
          <a:p>
            <a:pPr algn="r"/>
            <a:endParaRPr lang="en-US" sz="999" dirty="0" smtClean="0">
              <a:solidFill>
                <a:srgbClr val="333333"/>
              </a:solidFill>
            </a:endParaRP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Change the slide layout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 smtClean="0">
              <a:solidFill>
                <a:srgbClr val="333333"/>
              </a:solidFill>
            </a:endParaRP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Design // Themes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(Right click: </a:t>
            </a:r>
            <a:r>
              <a:rPr lang="en-US" sz="999" i="1" dirty="0" smtClean="0">
                <a:solidFill>
                  <a:srgbClr val="333333"/>
                </a:solidFill>
              </a:rPr>
              <a:t>Apply to All Slides </a:t>
            </a:r>
            <a:r>
              <a:rPr lang="en-US" sz="999" dirty="0" smtClean="0">
                <a:solidFill>
                  <a:srgbClr val="333333"/>
                </a:solidFill>
              </a:rPr>
              <a:t>or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i="1" dirty="0" smtClean="0">
                <a:solidFill>
                  <a:srgbClr val="333333"/>
                </a:solidFill>
              </a:rPr>
              <a:t>Apply to Selected Slide</a:t>
            </a:r>
            <a:r>
              <a:rPr lang="en-US" sz="999" dirty="0" smtClean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Adjust footer (per slide or for several/all slides) via menu bar: Insert // Text //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185459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en-US" sz="1999" dirty="0" smtClean="0">
              <a:solidFill>
                <a:prstClr val="black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6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noProof="0" dirty="0" smtClean="0"/>
              <a:t>Presentation title 30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on one line.</a:t>
            </a:r>
            <a:br>
              <a:rPr lang="en-US" noProof="0" dirty="0" smtClean="0"/>
            </a:br>
            <a:r>
              <a:rPr lang="en-US" noProof="0" dirty="0" smtClean="0"/>
              <a:t>On two lines possible.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 smtClean="0"/>
              <a:t>Additional text for presentation 1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</a:t>
            </a:r>
            <a:br>
              <a:rPr lang="en-US" noProof="0" dirty="0" smtClean="0"/>
            </a:br>
            <a:r>
              <a:rPr lang="en-US" noProof="0" dirty="0" smtClean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pic>
        <p:nvPicPr>
          <p:cNvPr id="12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7" y="-430988"/>
            <a:ext cx="1221702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Reset the slide back to its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original form via menu bar: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Home // Slides // Reset</a:t>
            </a:r>
          </a:p>
          <a:p>
            <a:pPr algn="r"/>
            <a:endParaRPr lang="en-US" sz="999" dirty="0" smtClean="0">
              <a:solidFill>
                <a:srgbClr val="333333"/>
              </a:solidFill>
            </a:endParaRP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Change the slide layout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 smtClean="0">
              <a:solidFill>
                <a:srgbClr val="333333"/>
              </a:solidFill>
            </a:endParaRP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Design // Themes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(Right click: </a:t>
            </a:r>
            <a:r>
              <a:rPr lang="en-US" sz="999" i="1" dirty="0" smtClean="0">
                <a:solidFill>
                  <a:srgbClr val="333333"/>
                </a:solidFill>
              </a:rPr>
              <a:t>Apply to All Slides </a:t>
            </a:r>
            <a:r>
              <a:rPr lang="en-US" sz="999" dirty="0" smtClean="0">
                <a:solidFill>
                  <a:srgbClr val="333333"/>
                </a:solidFill>
              </a:rPr>
              <a:t>or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i="1" dirty="0" smtClean="0">
                <a:solidFill>
                  <a:srgbClr val="333333"/>
                </a:solidFill>
              </a:rPr>
              <a:t>Apply to Selected Slide</a:t>
            </a:r>
            <a:r>
              <a:rPr lang="en-US" sz="999" dirty="0" smtClean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Adjust footer (per slide or for several/all slides) via menu bar: Insert // Text //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3440343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en-US" sz="1999" dirty="0" smtClean="0">
              <a:solidFill>
                <a:prstClr val="black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6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noProof="0" dirty="0" smtClean="0"/>
              <a:t>Presentation title 30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on one line.</a:t>
            </a:r>
            <a:br>
              <a:rPr lang="en-US" noProof="0" dirty="0" smtClean="0"/>
            </a:br>
            <a:r>
              <a:rPr lang="en-US" noProof="0" dirty="0" smtClean="0"/>
              <a:t>On two lines possible.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 smtClean="0"/>
              <a:t>Additional text for presentation 1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</a:t>
            </a:r>
            <a:br>
              <a:rPr lang="en-US" noProof="0" dirty="0" smtClean="0"/>
            </a:br>
            <a:r>
              <a:rPr lang="en-US" noProof="0" dirty="0" smtClean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pic>
        <p:nvPicPr>
          <p:cNvPr id="12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7" y="-430988"/>
            <a:ext cx="1221702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Reset the slide back to its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original form via menu bar: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Home // Slides // Reset</a:t>
            </a:r>
          </a:p>
          <a:p>
            <a:pPr algn="r"/>
            <a:endParaRPr lang="en-US" sz="999" dirty="0" smtClean="0">
              <a:solidFill>
                <a:srgbClr val="333333"/>
              </a:solidFill>
            </a:endParaRP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Change the slide layout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 smtClean="0">
              <a:solidFill>
                <a:srgbClr val="333333"/>
              </a:solidFill>
            </a:endParaRP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Design // Themes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(Right click: </a:t>
            </a:r>
            <a:r>
              <a:rPr lang="en-US" sz="999" i="1" dirty="0" smtClean="0">
                <a:solidFill>
                  <a:srgbClr val="333333"/>
                </a:solidFill>
              </a:rPr>
              <a:t>Apply to All Slides </a:t>
            </a:r>
            <a:r>
              <a:rPr lang="en-US" sz="999" dirty="0" smtClean="0">
                <a:solidFill>
                  <a:srgbClr val="333333"/>
                </a:solidFill>
              </a:rPr>
              <a:t>or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i="1" dirty="0" smtClean="0">
                <a:solidFill>
                  <a:srgbClr val="333333"/>
                </a:solidFill>
              </a:rPr>
              <a:t>Apply to Selected Slide</a:t>
            </a:r>
            <a:r>
              <a:rPr lang="en-US" sz="999" dirty="0" smtClean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Adjust footer (per slide or for several/all slides) via menu bar: Insert // Text //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893226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1511300"/>
            <a:ext cx="11404800" cy="4140000"/>
          </a:xfrm>
        </p:spPr>
        <p:txBody>
          <a:bodyPr numCol="2" spcCol="244765"/>
          <a:lstStyle>
            <a:lvl1pPr marL="431723" indent="-431723">
              <a:buFont typeface="+mj-lt"/>
              <a:buAutoNum type="arabicPeriod"/>
              <a:defRPr baseline="0"/>
            </a:lvl1pPr>
            <a:lvl2pPr marL="863446" indent="-431723">
              <a:buFont typeface="+mj-lt"/>
              <a:buAutoNum type="alphaLcPeriod"/>
              <a:defRPr/>
            </a:lvl2pPr>
            <a:lvl3pPr marL="863446" indent="-431723">
              <a:buFont typeface="+mj-lt"/>
              <a:buAutoNum type="alphaLcPeriod"/>
              <a:defRPr sz="1999"/>
            </a:lvl3pPr>
            <a:lvl4pPr marL="863446" indent="-431723">
              <a:buFont typeface="+mj-lt"/>
              <a:buAutoNum type="alphaLcPeriod"/>
              <a:defRPr sz="1999"/>
            </a:lvl4pPr>
            <a:lvl5pPr marL="863446" indent="-431723">
              <a:buFont typeface="+mj-lt"/>
              <a:buAutoNum type="alphaLcPeriod"/>
              <a:defRPr sz="1999"/>
            </a:lvl5pPr>
            <a:lvl6pPr marL="863446" indent="-431723">
              <a:buFont typeface="+mj-lt"/>
              <a:buAutoNum type="alphaLcPeriod"/>
              <a:defRPr sz="1999"/>
            </a:lvl6pPr>
            <a:lvl7pPr marL="863446" indent="-431723">
              <a:buFont typeface="+mj-lt"/>
              <a:buAutoNum type="alphaLcPeriod"/>
              <a:defRPr sz="1999"/>
            </a:lvl7pPr>
            <a:lvl8pPr marL="863446" indent="-431723">
              <a:buFont typeface="+mj-lt"/>
              <a:buAutoNum type="alphaLcPeriod"/>
              <a:defRPr sz="1999"/>
            </a:lvl8pPr>
            <a:lvl9pPr marL="863446" indent="-431723">
              <a:buFont typeface="+mj-lt"/>
              <a:buAutoNum type="alphaLcPeriod"/>
              <a:defRPr sz="1999"/>
            </a:lvl9pPr>
          </a:lstStyle>
          <a:p>
            <a:pPr lvl="0"/>
            <a:r>
              <a:rPr lang="en-US" noProof="0" dirty="0" smtClean="0"/>
              <a:t>Insert agenda poin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// for sub-item: Home // Paragraph// Increase/Decrease List 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7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03119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1"/>
            <a:ext cx="114048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577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2" y="2757600"/>
            <a:ext cx="6148800" cy="2421734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999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23" name="Textplatzhalter 3"/>
          <p:cNvSpPr>
            <a:spLocks noGrp="1" noChangeAspect="1"/>
          </p:cNvSpPr>
          <p:nvPr>
            <p:ph type="body" sz="quarter" idx="67" hasCustomPrompt="1"/>
          </p:nvPr>
        </p:nvSpPr>
        <p:spPr bwMode="white">
          <a:xfrm rot="9427937">
            <a:off x="2424429" y="5284428"/>
            <a:ext cx="1908943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11" name="Textplatzhalter 3"/>
          <p:cNvSpPr>
            <a:spLocks noGrp="1" noChangeAspect="1"/>
          </p:cNvSpPr>
          <p:nvPr>
            <p:ph type="body" sz="quarter" idx="56" hasCustomPrompt="1"/>
          </p:nvPr>
        </p:nvSpPr>
        <p:spPr bwMode="white">
          <a:xfrm rot="17090839">
            <a:off x="7960224" y="280891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12" name="Textplatzhalter 3"/>
          <p:cNvSpPr>
            <a:spLocks noGrp="1" noChangeAspect="1"/>
          </p:cNvSpPr>
          <p:nvPr>
            <p:ph type="body" sz="quarter" idx="57" hasCustomPrompt="1"/>
          </p:nvPr>
        </p:nvSpPr>
        <p:spPr bwMode="white">
          <a:xfrm rot="18468895">
            <a:off x="6087015" y="2581077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13" name="Textplatzhalter 3"/>
          <p:cNvSpPr>
            <a:spLocks noGrp="1" noChangeAspect="1"/>
          </p:cNvSpPr>
          <p:nvPr>
            <p:ph type="body" sz="quarter" idx="58" hasCustomPrompt="1"/>
          </p:nvPr>
        </p:nvSpPr>
        <p:spPr bwMode="white">
          <a:xfrm rot="11041244">
            <a:off x="2481761" y="3144224"/>
            <a:ext cx="2202979" cy="8024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888" h="109067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995888" y="109067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14" name="Textplatzhalter 3"/>
          <p:cNvSpPr>
            <a:spLocks noGrp="1" noChangeAspect="1"/>
          </p:cNvSpPr>
          <p:nvPr>
            <p:ph type="body" sz="quarter" idx="59" hasCustomPrompt="1"/>
          </p:nvPr>
        </p:nvSpPr>
        <p:spPr bwMode="white">
          <a:xfrm rot="10320000">
            <a:off x="2607142" y="4603313"/>
            <a:ext cx="3265521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15" name="Textplatzhalter 3"/>
          <p:cNvSpPr>
            <a:spLocks noGrp="1" noChangeAspect="1"/>
          </p:cNvSpPr>
          <p:nvPr>
            <p:ph type="body" sz="quarter" idx="60" hasCustomPrompt="1"/>
          </p:nvPr>
        </p:nvSpPr>
        <p:spPr bwMode="white">
          <a:xfrm rot="3540000">
            <a:off x="5858041" y="4897334"/>
            <a:ext cx="1909937" cy="91521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16" name="Textplatzhalter 3"/>
          <p:cNvSpPr>
            <a:spLocks noGrp="1" noChangeAspect="1"/>
          </p:cNvSpPr>
          <p:nvPr>
            <p:ph type="body" sz="quarter" idx="61" hasCustomPrompt="1"/>
          </p:nvPr>
        </p:nvSpPr>
        <p:spPr bwMode="white">
          <a:xfrm rot="12197832">
            <a:off x="2200101" y="2579450"/>
            <a:ext cx="3265521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17" name="Textplatzhalter 3"/>
          <p:cNvSpPr>
            <a:spLocks noGrp="1" noChangeAspect="1"/>
          </p:cNvSpPr>
          <p:nvPr>
            <p:ph type="body" sz="quarter" idx="62" hasCustomPrompt="1"/>
          </p:nvPr>
        </p:nvSpPr>
        <p:spPr bwMode="white">
          <a:xfrm rot="13889278">
            <a:off x="4705918" y="252069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18" name="Textplatzhalter 3"/>
          <p:cNvSpPr>
            <a:spLocks noGrp="1" noChangeAspect="1"/>
          </p:cNvSpPr>
          <p:nvPr>
            <p:ph type="body" sz="quarter" idx="63" hasCustomPrompt="1"/>
          </p:nvPr>
        </p:nvSpPr>
        <p:spPr bwMode="white">
          <a:xfrm rot="17090839" flipH="1" flipV="1">
            <a:off x="4824886" y="538223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19" name="Textplatzhalter 3"/>
          <p:cNvSpPr>
            <a:spLocks noGrp="1" noChangeAspect="1"/>
          </p:cNvSpPr>
          <p:nvPr>
            <p:ph type="body" sz="quarter" idx="64" hasCustomPrompt="1"/>
          </p:nvPr>
        </p:nvSpPr>
        <p:spPr bwMode="white">
          <a:xfrm rot="12243241" flipH="1" flipV="1">
            <a:off x="8582861" y="4580694"/>
            <a:ext cx="1283852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20" name="Textplatzhalter 3"/>
          <p:cNvSpPr>
            <a:spLocks noGrp="1" noChangeAspect="1"/>
          </p:cNvSpPr>
          <p:nvPr>
            <p:ph type="body" sz="quarter" idx="65" hasCustomPrompt="1"/>
          </p:nvPr>
        </p:nvSpPr>
        <p:spPr bwMode="white">
          <a:xfrm rot="10046435" flipH="1" flipV="1">
            <a:off x="8606062" y="3345727"/>
            <a:ext cx="1283852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22" name="Textplatzhalter 3"/>
          <p:cNvSpPr>
            <a:spLocks noGrp="1" noChangeAspect="1"/>
          </p:cNvSpPr>
          <p:nvPr>
            <p:ph type="body" sz="quarter" idx="66" hasCustomPrompt="1"/>
          </p:nvPr>
        </p:nvSpPr>
        <p:spPr bwMode="white">
          <a:xfrm rot="2851924">
            <a:off x="6694401" y="4854488"/>
            <a:ext cx="3267222" cy="7929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Presentation title in CorpoS (Body) 10 pt. | Department | Date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395794" y="5252601"/>
            <a:ext cx="3752845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Insert text in CorpoS (Body), 15 pt. // for smaller text: Home // Paragraph // Increase List Level</a:t>
            </a:r>
          </a:p>
        </p:txBody>
      </p:sp>
      <p:sp>
        <p:nvSpPr>
          <p:cNvPr id="109" name="Textplatzhalter 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4220828" y="5252601"/>
            <a:ext cx="1838642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Text CorpoS, 15 pt. // for smaller text:  Increase List Level</a:t>
            </a:r>
          </a:p>
        </p:txBody>
      </p:sp>
      <p:sp>
        <p:nvSpPr>
          <p:cNvPr id="110" name="Textplatzhalter 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131658" y="5252601"/>
            <a:ext cx="1838642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Text CorpoS, 15 pt. // for smaller text:  Increase List Level</a:t>
            </a:r>
          </a:p>
        </p:txBody>
      </p:sp>
      <p:sp>
        <p:nvSpPr>
          <p:cNvPr id="93" name="Textplatzhalter 3"/>
          <p:cNvSpPr>
            <a:spLocks noGrp="1"/>
          </p:cNvSpPr>
          <p:nvPr userDrawn="1">
            <p:ph type="body" sz="quarter" idx="45" hasCustomPrompt="1"/>
          </p:nvPr>
        </p:nvSpPr>
        <p:spPr bwMode="gray">
          <a:xfrm>
            <a:off x="8042485" y="1512000"/>
            <a:ext cx="3752845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Insert text in CorpoS (Body), 15 pt. // for smaller text: Home // Paragraph // Increase List Level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220828" y="1512000"/>
            <a:ext cx="1838642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 baseline="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Text CorpoS, 15 pt. // for smaller text:  Increase List Level</a:t>
            </a:r>
          </a:p>
        </p:txBody>
      </p:sp>
      <p:sp>
        <p:nvSpPr>
          <p:cNvPr id="95" name="Textplatzhalt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131658" y="1512000"/>
            <a:ext cx="1838642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Text CorpoS, 15 pt. // for smaller text:  Increase List Level</a:t>
            </a:r>
          </a:p>
        </p:txBody>
      </p:sp>
      <p:sp>
        <p:nvSpPr>
          <p:cNvPr id="100" name="Textplatzhalter 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8042485" y="5252601"/>
            <a:ext cx="3752845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Insert text in CorpoS (Body), 15 pt. // for smaller text: Home // Paragraph // Increase List Level</a:t>
            </a:r>
          </a:p>
        </p:txBody>
      </p:sp>
      <p:sp>
        <p:nvSpPr>
          <p:cNvPr id="75" name="Textplatzhalter 3"/>
          <p:cNvSpPr>
            <a:spLocks noGrp="1"/>
          </p:cNvSpPr>
          <p:nvPr userDrawn="1">
            <p:ph type="body" sz="quarter" idx="34" hasCustomPrompt="1"/>
          </p:nvPr>
        </p:nvSpPr>
        <p:spPr bwMode="gray">
          <a:xfrm>
            <a:off x="395794" y="1512000"/>
            <a:ext cx="3752845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 baseline="0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Insert text in CorpoS (Body), 15 pt. // for smaller text: Home // Paragraph // Increase List Level</a:t>
            </a:r>
          </a:p>
        </p:txBody>
      </p:sp>
      <p:sp>
        <p:nvSpPr>
          <p:cNvPr id="96" name="Textplatzhalt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395794" y="2758867"/>
            <a:ext cx="2554669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Insert text in CorpoS (Body), 15 pt. // for smaller text: Home // Paragraph // Increase List Level</a:t>
            </a:r>
          </a:p>
        </p:txBody>
      </p:sp>
      <p:sp>
        <p:nvSpPr>
          <p:cNvPr id="97" name="Textplatzhalt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395794" y="4005735"/>
            <a:ext cx="2554669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Insert text in CorpoS (Body), 15 pt. // for smaller text: Home // Paragraph // Increase List Level</a:t>
            </a:r>
          </a:p>
        </p:txBody>
      </p:sp>
      <p:sp>
        <p:nvSpPr>
          <p:cNvPr id="99" name="Textplatzhalter 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9240661" y="4005735"/>
            <a:ext cx="2554669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Insert text in CorpoS (Body), 15 pt. // for smaller text: Home // Paragraph // Increase List Level</a:t>
            </a:r>
          </a:p>
        </p:txBody>
      </p:sp>
      <p:sp>
        <p:nvSpPr>
          <p:cNvPr id="98" name="Textplatzhalter 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9240661" y="2758867"/>
            <a:ext cx="2554669" cy="1173600"/>
          </a:xfrm>
          <a:solidFill>
            <a:schemeClr val="tx2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Insert text in CorpoS (Body), 15 pt. // for smaller text: Home // Paragraph // Increase List Level</a:t>
            </a:r>
          </a:p>
        </p:txBody>
      </p:sp>
      <p:sp>
        <p:nvSpPr>
          <p:cNvPr id="3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476048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0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500"/>
                            </p:stCondLst>
                            <p:childTnLst>
                              <p:par>
                                <p:cTn id="10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1" grpId="0" uiExpand="1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2" grpId="0" uiExpand="1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6" grpId="0" uiExpand="1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7" grpId="0" uiExpand="1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8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0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3" grpId="0" uiExpand="1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4" grpId="0" uiExpand="1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5" grpId="0" uiExpand="1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 uiExpand="1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6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7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 mod="1">
    <p:ext uri="{DCECCB84-F9BA-43D5-87BE-67443E8EF086}">
      <p15:sldGuideLst xmlns:p15="http://schemas.microsoft.com/office/powerpoint/2012/main" xmlns="">
        <p15:guide id="1" pos="249" userDrawn="1">
          <p15:clr>
            <a:srgbClr val="A4A3A4"/>
          </p15:clr>
        </p15:guide>
        <p15:guide id="2" orient="horz" pos="232" userDrawn="1">
          <p15:clr>
            <a:srgbClr val="A4A3A4"/>
          </p15:clr>
        </p15:guide>
        <p15:guide id="3" pos="7433" userDrawn="1">
          <p15:clr>
            <a:srgbClr val="A4A3A4"/>
          </p15:clr>
        </p15:guide>
        <p15:guide id="4" orient="horz" pos="953" userDrawn="1">
          <p15:clr>
            <a:srgbClr val="A4A3A4"/>
          </p15:clr>
        </p15:guide>
        <p15:guide id="5" orient="horz" pos="4049" userDrawn="1">
          <p15:clr>
            <a:srgbClr val="A4A3A4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6" y="1512001"/>
            <a:ext cx="11405514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 smtClean="0"/>
              <a:t>Table headline in </a:t>
            </a:r>
            <a:r>
              <a:rPr lang="en-US" noProof="0" dirty="0" err="1" smtClean="0"/>
              <a:t>CorpoS</a:t>
            </a:r>
            <a:r>
              <a:rPr lang="en-US" dirty="0" smtClean="0"/>
              <a:t> (</a:t>
            </a:r>
            <a:r>
              <a:rPr lang="en-US" noProof="0" dirty="0" smtClean="0"/>
              <a:t>Body</a:t>
            </a:r>
            <a:r>
              <a:rPr lang="en-US" dirty="0" smtClean="0"/>
              <a:t>) in 20 pt. bold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 baseline="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 smtClean="0"/>
              <a:t>Table description  in </a:t>
            </a:r>
            <a:r>
              <a:rPr lang="en-US" noProof="0" dirty="0" err="1" smtClean="0"/>
              <a:t>CorpoS</a:t>
            </a:r>
            <a:r>
              <a:rPr lang="en-US" dirty="0" smtClean="0"/>
              <a:t> (</a:t>
            </a:r>
            <a:r>
              <a:rPr lang="en-US" noProof="0" dirty="0" err="1" smtClean="0"/>
              <a:t>Textkörper</a:t>
            </a:r>
            <a:r>
              <a:rPr lang="en-US" dirty="0" smtClean="0"/>
              <a:t>) in 15 pt. 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83596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 smtClean="0"/>
              <a:t>Description in </a:t>
            </a:r>
            <a:r>
              <a:rPr lang="en-US" noProof="0" dirty="0" err="1" smtClean="0"/>
              <a:t>CorpoS</a:t>
            </a:r>
            <a:r>
              <a:rPr lang="en-US" dirty="0" smtClean="0"/>
              <a:t> (</a:t>
            </a:r>
            <a:r>
              <a:rPr lang="en-US" noProof="0" dirty="0" err="1" smtClean="0"/>
              <a:t>Textkörper</a:t>
            </a:r>
            <a:r>
              <a:rPr lang="en-US" dirty="0" smtClean="0"/>
              <a:t>) in 15 pt. 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0"/>
            <a:ext cx="11404800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6020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480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1"/>
            <a:ext cx="5616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342462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1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1"/>
            <a:ext cx="5580000" cy="4914201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3131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8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8" y="3502801"/>
            <a:ext cx="5580000" cy="2923400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2" y="3502801"/>
            <a:ext cx="5580000" cy="2923400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163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6030980"/>
            <a:ext cx="11398862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333333"/>
                  </a:solidFill>
                </a:rPr>
                <a:t>Change image detail via menu bar: Picture Tools // Format // 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333333"/>
                  </a:solidFill>
                </a:rPr>
                <a:t>Image can be moved within the black boundaries, to adjust easily press Alt-key.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999" dirty="0" smtClean="0">
                  <a:solidFill>
                    <a:srgbClr val="333333"/>
                  </a:solidFill>
                </a:rPr>
              </a:br>
              <a:r>
                <a:rPr lang="en-US" sz="999" dirty="0" smtClean="0">
                  <a:solidFill>
                    <a:srgbClr val="333333"/>
                  </a:solidFill>
                </a:rPr>
                <a:t>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99" dirty="0" smtClean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dirty="0" smtClean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dirty="0" smtClean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dirty="0" smtClean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77903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0376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0378" y="52526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5" y="27584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5" y="15113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5" y="40055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3" y="1512000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3" y="2758867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3" y="4005734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3" y="52526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4" y="1512000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4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4" y="4005734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4" y="2758867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68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68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68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68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4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4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4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4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1" y="1512000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1" y="4005734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1" y="2758867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1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 bwMode="white">
          <a:xfrm>
            <a:off x="3993925" y="2098800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 bwMode="white">
          <a:xfrm>
            <a:off x="3993925" y="3345667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 bwMode="white">
          <a:xfrm flipH="1">
            <a:off x="7715158" y="20981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 bwMode="white">
          <a:xfrm>
            <a:off x="7715158" y="33452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 bwMode="white">
          <a:xfrm>
            <a:off x="7715158" y="45923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 bwMode="white">
          <a:xfrm>
            <a:off x="7711590" y="5839401"/>
            <a:ext cx="482813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 bwMode="white">
          <a:xfrm>
            <a:off x="3993925" y="5839401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 bwMode="white">
          <a:xfrm>
            <a:off x="3993925" y="4592534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ußzeilenplatzhalter 2"/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4663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2" y="2757600"/>
            <a:ext cx="6148800" cy="2421734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68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6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476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4" y="3851886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4" y="3383769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4" y="151130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4" y="198000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4" y="291565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4" y="4320000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4" y="2447534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2" y="1511300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42644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Presentation title in CorpoS (Body) 10 pt. | Department | Date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4" y="1511301"/>
            <a:ext cx="3752845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</a:t>
            </a:r>
            <a:r>
              <a:rPr lang="en-US" dirty="0" smtClean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4" y="1979418"/>
            <a:ext cx="3752845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</a:t>
            </a:r>
            <a:r>
              <a:rPr lang="en-US" dirty="0" smtClean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4" y="2915651"/>
            <a:ext cx="3752845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</a:t>
            </a:r>
            <a:r>
              <a:rPr lang="en-US" dirty="0" smtClean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4" y="4320000"/>
            <a:ext cx="3752845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</a:t>
            </a:r>
            <a:r>
              <a:rPr lang="en-US" dirty="0" smtClean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4" y="2447534"/>
            <a:ext cx="3752845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</a:t>
            </a:r>
            <a:r>
              <a:rPr lang="en-US" dirty="0" smtClean="0"/>
              <a:t>20 pt.</a:t>
            </a:r>
          </a:p>
        </p:txBody>
      </p:sp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4" y="3851886"/>
            <a:ext cx="3752845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</a:t>
            </a:r>
            <a:r>
              <a:rPr lang="en-US" dirty="0" smtClean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4" y="3383769"/>
            <a:ext cx="3752845" cy="396000"/>
          </a:xfrm>
          <a:solidFill>
            <a:schemeClr val="tx2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</a:t>
            </a:r>
            <a:r>
              <a:rPr lang="en-US" dirty="0" smtClean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2" y="1511300"/>
            <a:ext cx="7578000" cy="3204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52845913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49" userDrawn="1">
          <p15:clr>
            <a:srgbClr val="A4A3A4"/>
          </p15:clr>
        </p15:guide>
        <p15:guide id="2" pos="7433" userDrawn="1">
          <p15:clr>
            <a:srgbClr val="A4A3A4"/>
          </p15:clr>
        </p15:guide>
        <p15:guide id="3" orient="horz" pos="232" userDrawn="1">
          <p15:clr>
            <a:srgbClr val="A4A3A4"/>
          </p15:clr>
        </p15:guide>
        <p15:guide id="4" orient="horz" pos="953" userDrawn="1">
          <p15:clr>
            <a:srgbClr val="A4A3A4"/>
          </p15:clr>
        </p15:guide>
        <p15:guide id="5" orient="horz" pos="4049" userDrawn="1">
          <p15:clr>
            <a:srgbClr val="A4A3A4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1944000"/>
          </a:xfrm>
          <a:solidFill>
            <a:schemeClr val="accent6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7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3501248"/>
            <a:ext cx="3752845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1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7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Foliennummernplatzhalter 2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0382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5502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2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2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2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2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76193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4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6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58258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de-DE" sz="1999" dirty="0" smtClean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// for bullets: Home // Paragraph// Increase List 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chemeClr val="accent6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29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78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69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69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708827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de-DE" sz="1999" dirty="0" smtClean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// for bullets: Home // Paragraph// Increase List 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3495678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78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6" y="3495678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68"/>
            <a:ext cx="37548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40226301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 with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4526573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395795" y="1786681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395795" y="462604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395795" y="3206363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5795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4526573" y="6043658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395795" y="6045725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8846408" y="178616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8846408" y="462449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8846408" y="320532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8846408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8846408" y="6043658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44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45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7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1664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2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0"/>
            <a:ext cx="2994158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2" y="1155600"/>
            <a:ext cx="2994158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2" y="4619700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55080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95082" y="1512001"/>
            <a:ext cx="5508000" cy="2949301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99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1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1524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1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0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1"/>
            <a:ext cx="2993642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5774400"/>
            <a:ext cx="2994158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2" y="2309400"/>
            <a:ext cx="2994158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2" y="0"/>
            <a:ext cx="2994158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6491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2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57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57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0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0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0"/>
            <a:ext cx="299364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34900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Presentation title in CorpoS (Body) 10 pt. | Department | Date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7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1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7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6849334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32" userDrawn="1">
          <p15:clr>
            <a:srgbClr val="A4A3A4"/>
          </p15:clr>
        </p15:guide>
        <p15:guide id="2" pos="249" userDrawn="1">
          <p15:clr>
            <a:srgbClr val="A4A3A4"/>
          </p15:clr>
        </p15:guide>
        <p15:guide id="3" pos="7433" userDrawn="1">
          <p15:clr>
            <a:srgbClr val="A4A3A4"/>
          </p15:clr>
        </p15:guide>
        <p15:guide id="4" orient="horz" pos="953" userDrawn="1">
          <p15:clr>
            <a:srgbClr val="A4A3A4"/>
          </p15:clr>
        </p15:guide>
        <p15:guide id="5" orient="horz" pos="4049" userDrawn="1">
          <p15:clr>
            <a:srgbClr val="A4A3A4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540000"/>
          </a:xfrm>
        </p:spPr>
        <p:txBody>
          <a:bodyPr/>
          <a:lstStyle>
            <a:lvl1pPr>
              <a:defRPr sz="2999" baseline="0"/>
            </a:lvl1pPr>
          </a:lstStyle>
          <a:p>
            <a:r>
              <a:rPr lang="en-US" noProof="0" dirty="0" smtClean="0"/>
              <a:t>Optional headline on one line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endParaRPr lang="en-US" noProof="0" dirty="0"/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63587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 smtClean="0"/>
              <a:t>Headline on two lines in CorpoA (Headings) 30 pt. </a:t>
            </a:r>
            <a:br>
              <a:rPr lang="en-GB" noProof="0" dirty="0" smtClean="0"/>
            </a:br>
            <a:r>
              <a:rPr lang="en-GB" noProof="0" dirty="0" smtClean="0"/>
              <a:t>Lorem ipsum </a:t>
            </a:r>
            <a:r>
              <a:rPr lang="en-GB" noProof="0" dirty="0" err="1" smtClean="0"/>
              <a:t>dolor</a:t>
            </a:r>
            <a:r>
              <a:rPr lang="en-GB" noProof="0" dirty="0" smtClean="0"/>
              <a:t> sit </a:t>
            </a:r>
            <a:r>
              <a:rPr lang="en-GB" noProof="0" dirty="0" err="1" smtClean="0"/>
              <a:t>amet</a:t>
            </a:r>
            <a:r>
              <a:rPr lang="en-GB" noProof="0" dirty="0" smtClean="0"/>
              <a:t>.</a:t>
            </a:r>
            <a:endParaRPr lang="en-GB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GB" noProof="0" dirty="0" smtClean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5" y="1511301"/>
            <a:ext cx="11400249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 smtClean="0"/>
              <a:t>Insert content or text in </a:t>
            </a:r>
            <a:r>
              <a:rPr lang="en-GB" noProof="0" dirty="0" err="1" smtClean="0"/>
              <a:t>CorpoS</a:t>
            </a:r>
            <a:r>
              <a:rPr lang="en-GB" noProof="0" dirty="0" smtClean="0"/>
              <a:t> (Body), 20 pt. </a:t>
            </a:r>
            <a:r>
              <a:rPr lang="en-GB" dirty="0" smtClean="0"/>
              <a:t>// for bullets: Home // Paragraph// Increase/Decrease Li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  <a:p>
            <a:pPr lvl="5"/>
            <a:r>
              <a:rPr lang="en-GB" dirty="0" smtClean="0"/>
              <a:t>Sixth level</a:t>
            </a:r>
          </a:p>
          <a:p>
            <a:pPr lvl="6"/>
            <a:r>
              <a:rPr lang="en-GB" dirty="0" smtClean="0"/>
              <a:t>Seventh level</a:t>
            </a:r>
          </a:p>
          <a:p>
            <a:pPr lvl="7"/>
            <a:r>
              <a:rPr lang="en-GB" dirty="0" smtClean="0"/>
              <a:t>Eighth level</a:t>
            </a:r>
          </a:p>
          <a:p>
            <a:pPr lvl="8"/>
            <a:r>
              <a:rPr lang="en-GB" dirty="0" smtClean="0"/>
              <a:t>Ninth level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2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 smtClean="0"/>
              <a:t>                       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 smtClean="0"/>
              <a:t>                      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white"/>
                </a:solidFill>
              </a:rPr>
              <a:t>Presentation title in CorpoS (Body) 9 pt | Department | Date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6472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en-US" sz="1999" dirty="0" smtClean="0">
              <a:solidFill>
                <a:prstClr val="black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noProof="0" dirty="0" smtClean="0"/>
              <a:t>Presentation title 30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on one line.</a:t>
            </a:r>
            <a:br>
              <a:rPr lang="en-US" noProof="0" dirty="0" smtClean="0"/>
            </a:br>
            <a:r>
              <a:rPr lang="en-US" noProof="0" dirty="0" smtClean="0"/>
              <a:t>On two lines possible.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 smtClean="0"/>
              <a:t>Additional text for presentation 1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</a:t>
            </a:r>
            <a:br>
              <a:rPr lang="en-US" noProof="0" dirty="0" smtClean="0"/>
            </a:br>
            <a:r>
              <a:rPr lang="en-US" noProof="0" dirty="0" smtClean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pic>
        <p:nvPicPr>
          <p:cNvPr id="12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7" y="-430988"/>
            <a:ext cx="1221702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Reset the slide back to its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original form via menu bar: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Home // Slides // Reset</a:t>
            </a:r>
          </a:p>
          <a:p>
            <a:pPr algn="r"/>
            <a:endParaRPr lang="en-US" sz="999" dirty="0" smtClean="0">
              <a:solidFill>
                <a:srgbClr val="333333"/>
              </a:solidFill>
            </a:endParaRP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Change the slide layout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 smtClean="0">
              <a:solidFill>
                <a:srgbClr val="333333"/>
              </a:solidFill>
            </a:endParaRP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Design // Themes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(Right click: </a:t>
            </a:r>
            <a:r>
              <a:rPr lang="en-US" sz="999" i="1" dirty="0" smtClean="0">
                <a:solidFill>
                  <a:srgbClr val="333333"/>
                </a:solidFill>
              </a:rPr>
              <a:t>Apply to All Slides </a:t>
            </a:r>
            <a:r>
              <a:rPr lang="en-US" sz="999" dirty="0" smtClean="0">
                <a:solidFill>
                  <a:srgbClr val="333333"/>
                </a:solidFill>
              </a:rPr>
              <a:t>or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i="1" dirty="0" smtClean="0">
                <a:solidFill>
                  <a:srgbClr val="333333"/>
                </a:solidFill>
              </a:rPr>
              <a:t>Apply to Selected Slide</a:t>
            </a:r>
            <a:r>
              <a:rPr lang="en-US" sz="999" dirty="0" smtClean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Adjust footer (per slide or for several/all slides) via menu bar: Insert // Text //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2210115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en-US" sz="1999" dirty="0" smtClean="0">
              <a:solidFill>
                <a:prstClr val="black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6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noProof="0" dirty="0" smtClean="0"/>
              <a:t>Presentation title 30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on one line.</a:t>
            </a:r>
            <a:br>
              <a:rPr lang="en-US" noProof="0" dirty="0" smtClean="0"/>
            </a:br>
            <a:r>
              <a:rPr lang="en-US" noProof="0" dirty="0" smtClean="0"/>
              <a:t>On two lines possible.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 smtClean="0"/>
              <a:t>Additional text for presentation 1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</a:t>
            </a:r>
            <a:br>
              <a:rPr lang="en-US" noProof="0" dirty="0" smtClean="0"/>
            </a:br>
            <a:r>
              <a:rPr lang="en-US" noProof="0" dirty="0" smtClean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pic>
        <p:nvPicPr>
          <p:cNvPr id="12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7" y="-430988"/>
            <a:ext cx="1221702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Reset the slide back to its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original form via menu bar: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Home // Slides // Reset</a:t>
            </a:r>
          </a:p>
          <a:p>
            <a:pPr algn="r"/>
            <a:endParaRPr lang="en-US" sz="999" dirty="0" smtClean="0">
              <a:solidFill>
                <a:srgbClr val="333333"/>
              </a:solidFill>
            </a:endParaRP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Change the slide layout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 smtClean="0">
              <a:solidFill>
                <a:srgbClr val="333333"/>
              </a:solidFill>
            </a:endParaRP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Design // Themes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(Right click: </a:t>
            </a:r>
            <a:r>
              <a:rPr lang="en-US" sz="999" i="1" dirty="0" smtClean="0">
                <a:solidFill>
                  <a:srgbClr val="333333"/>
                </a:solidFill>
              </a:rPr>
              <a:t>Apply to All Slides </a:t>
            </a:r>
            <a:r>
              <a:rPr lang="en-US" sz="999" dirty="0" smtClean="0">
                <a:solidFill>
                  <a:srgbClr val="333333"/>
                </a:solidFill>
              </a:rPr>
              <a:t>or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i="1" dirty="0" smtClean="0">
                <a:solidFill>
                  <a:srgbClr val="333333"/>
                </a:solidFill>
              </a:rPr>
              <a:t>Apply to Selected Slide</a:t>
            </a:r>
            <a:r>
              <a:rPr lang="en-US" sz="999" dirty="0" smtClean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Adjust footer (per slide or for several/all slides) via menu bar: Insert // Text //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4113129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en-US" sz="1999" dirty="0" smtClean="0">
              <a:solidFill>
                <a:prstClr val="black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6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noProof="0" dirty="0" smtClean="0"/>
              <a:t>Presentation title 30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on one line.</a:t>
            </a:r>
            <a:br>
              <a:rPr lang="en-US" noProof="0" dirty="0" smtClean="0"/>
            </a:br>
            <a:r>
              <a:rPr lang="en-US" noProof="0" dirty="0" smtClean="0"/>
              <a:t>On two lines possible.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 smtClean="0"/>
              <a:t>Additional text for presentation 1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</a:t>
            </a:r>
            <a:br>
              <a:rPr lang="en-US" noProof="0" dirty="0" smtClean="0"/>
            </a:br>
            <a:r>
              <a:rPr lang="en-US" noProof="0" dirty="0" smtClean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pic>
        <p:nvPicPr>
          <p:cNvPr id="12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7" y="-430988"/>
            <a:ext cx="1221702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Reset the slide back to its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original form via menu bar: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Home // Slides // Reset</a:t>
            </a:r>
          </a:p>
          <a:p>
            <a:pPr algn="r"/>
            <a:endParaRPr lang="en-US" sz="999" dirty="0" smtClean="0">
              <a:solidFill>
                <a:srgbClr val="333333"/>
              </a:solidFill>
            </a:endParaRP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Change the slide layout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 smtClean="0">
              <a:solidFill>
                <a:srgbClr val="333333"/>
              </a:solidFill>
            </a:endParaRP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Design // Themes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(Right click: </a:t>
            </a:r>
            <a:r>
              <a:rPr lang="en-US" sz="999" i="1" dirty="0" smtClean="0">
                <a:solidFill>
                  <a:srgbClr val="333333"/>
                </a:solidFill>
              </a:rPr>
              <a:t>Apply to All Slides </a:t>
            </a:r>
            <a:r>
              <a:rPr lang="en-US" sz="999" dirty="0" smtClean="0">
                <a:solidFill>
                  <a:srgbClr val="333333"/>
                </a:solidFill>
              </a:rPr>
              <a:t>or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i="1" dirty="0" smtClean="0">
                <a:solidFill>
                  <a:srgbClr val="333333"/>
                </a:solidFill>
              </a:rPr>
              <a:t>Apply to Selected Slide</a:t>
            </a:r>
            <a:r>
              <a:rPr lang="en-US" sz="999" dirty="0" smtClean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Adjust footer (per slide or for several/all slides) via menu bar: Insert // Text //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3401366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1511300"/>
            <a:ext cx="11404800" cy="4140000"/>
          </a:xfrm>
        </p:spPr>
        <p:txBody>
          <a:bodyPr numCol="2" spcCol="244765"/>
          <a:lstStyle>
            <a:lvl1pPr marL="431723" indent="-431723">
              <a:buFont typeface="+mj-lt"/>
              <a:buAutoNum type="arabicPeriod"/>
              <a:defRPr baseline="0"/>
            </a:lvl1pPr>
            <a:lvl2pPr marL="863446" indent="-431723">
              <a:buFont typeface="+mj-lt"/>
              <a:buAutoNum type="alphaLcPeriod"/>
              <a:defRPr/>
            </a:lvl2pPr>
            <a:lvl3pPr marL="863446" indent="-431723">
              <a:buFont typeface="+mj-lt"/>
              <a:buAutoNum type="alphaLcPeriod"/>
              <a:defRPr sz="1999"/>
            </a:lvl3pPr>
            <a:lvl4pPr marL="863446" indent="-431723">
              <a:buFont typeface="+mj-lt"/>
              <a:buAutoNum type="alphaLcPeriod"/>
              <a:defRPr sz="1999"/>
            </a:lvl4pPr>
            <a:lvl5pPr marL="863446" indent="-431723">
              <a:buFont typeface="+mj-lt"/>
              <a:buAutoNum type="alphaLcPeriod"/>
              <a:defRPr sz="1999"/>
            </a:lvl5pPr>
            <a:lvl6pPr marL="863446" indent="-431723">
              <a:buFont typeface="+mj-lt"/>
              <a:buAutoNum type="alphaLcPeriod"/>
              <a:defRPr sz="1999"/>
            </a:lvl6pPr>
            <a:lvl7pPr marL="863446" indent="-431723">
              <a:buFont typeface="+mj-lt"/>
              <a:buAutoNum type="alphaLcPeriod"/>
              <a:defRPr sz="1999"/>
            </a:lvl7pPr>
            <a:lvl8pPr marL="863446" indent="-431723">
              <a:buFont typeface="+mj-lt"/>
              <a:buAutoNum type="alphaLcPeriod"/>
              <a:defRPr sz="1999"/>
            </a:lvl8pPr>
            <a:lvl9pPr marL="863446" indent="-431723">
              <a:buFont typeface="+mj-lt"/>
              <a:buAutoNum type="alphaLcPeriod"/>
              <a:defRPr sz="1999"/>
            </a:lvl9pPr>
          </a:lstStyle>
          <a:p>
            <a:pPr lvl="0"/>
            <a:r>
              <a:rPr lang="en-US" noProof="0" dirty="0" smtClean="0"/>
              <a:t>Insert agenda poin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// for sub-item: Home // Paragraph// Increase/Decrease List 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7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1874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1"/>
            <a:ext cx="114048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54075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6" y="1512001"/>
            <a:ext cx="11405514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 smtClean="0"/>
              <a:t>Table headline in </a:t>
            </a:r>
            <a:r>
              <a:rPr lang="en-US" noProof="0" dirty="0" err="1" smtClean="0"/>
              <a:t>CorpoS</a:t>
            </a:r>
            <a:r>
              <a:rPr lang="en-US" dirty="0" smtClean="0"/>
              <a:t> (</a:t>
            </a:r>
            <a:r>
              <a:rPr lang="en-US" noProof="0" dirty="0" smtClean="0"/>
              <a:t>Body</a:t>
            </a:r>
            <a:r>
              <a:rPr lang="en-US" dirty="0" smtClean="0"/>
              <a:t>) in 20 pt. bold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 baseline="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 smtClean="0"/>
              <a:t>Table description  in </a:t>
            </a:r>
            <a:r>
              <a:rPr lang="en-US" noProof="0" dirty="0" err="1" smtClean="0"/>
              <a:t>CorpoS</a:t>
            </a:r>
            <a:r>
              <a:rPr lang="en-US" dirty="0" smtClean="0"/>
              <a:t> (</a:t>
            </a:r>
            <a:r>
              <a:rPr lang="en-US" noProof="0" dirty="0" err="1" smtClean="0"/>
              <a:t>Textkörper</a:t>
            </a:r>
            <a:r>
              <a:rPr lang="en-US" dirty="0" smtClean="0"/>
              <a:t>) in 15 pt. 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72206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 smtClean="0"/>
              <a:t>Description in </a:t>
            </a:r>
            <a:r>
              <a:rPr lang="en-US" noProof="0" dirty="0" err="1" smtClean="0"/>
              <a:t>CorpoS</a:t>
            </a:r>
            <a:r>
              <a:rPr lang="en-US" dirty="0" smtClean="0"/>
              <a:t> (</a:t>
            </a:r>
            <a:r>
              <a:rPr lang="en-US" noProof="0" dirty="0" err="1" smtClean="0"/>
              <a:t>Textkörper</a:t>
            </a:r>
            <a:r>
              <a:rPr lang="en-US" dirty="0" smtClean="0"/>
              <a:t>) in 15 pt. 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0"/>
            <a:ext cx="11404800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486289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480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1"/>
            <a:ext cx="5616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3331130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mmercial Vans">
    <p:bg bwMode="black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Grafik 3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6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2"/>
            <a:ext cx="9396000" cy="1044000"/>
          </a:xfrm>
        </p:spPr>
        <p:txBody>
          <a:bodyPr/>
          <a:lstStyle>
            <a:lvl1pPr>
              <a:lnSpc>
                <a:spcPts val="3997"/>
              </a:lnSpc>
              <a:defRPr sz="2999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 on one line in CorpoA (Headings) 30 pt.</a:t>
            </a:r>
            <a:br>
              <a:rPr lang="en-US" dirty="0" smtClean="0"/>
            </a:br>
            <a:r>
              <a:rPr lang="en-US" noProof="0" dirty="0" smtClean="0"/>
              <a:t>On two lines possible.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081" y="4932363"/>
            <a:ext cx="9396000" cy="755637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 smtClean="0"/>
              <a:t>Additional text for presentation 15 pt </a:t>
            </a:r>
            <a:br>
              <a:rPr lang="en-US" noProof="0" dirty="0" smtClean="0"/>
            </a:br>
            <a:r>
              <a:rPr lang="en-US" noProof="0" dirty="0" smtClean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27" y="314136"/>
            <a:ext cx="12191874" cy="340537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</a:t>
            </a:r>
          </a:p>
        </p:txBody>
      </p:sp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Reset the slide back to its 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original form via menu bar: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Home // Slides // Reset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99" b="0" baseline="0" noProof="0" dirty="0" smtClean="0">
              <a:solidFill>
                <a:schemeClr val="accent5"/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Change the slide layout 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via menu bar: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Home // Slides // Layout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99" b="0" baseline="0" noProof="0" dirty="0" smtClean="0">
              <a:solidFill>
                <a:schemeClr val="accent5"/>
              </a:solidFill>
              <a:latin typeface="+mn-lt"/>
            </a:endParaRP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Change the text level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via menu bar: </a:t>
            </a:r>
            <a:b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</a:b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Home // Paragraph // Increase/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Alternating between white and black slide layouts via menu bar: </a:t>
            </a:r>
            <a:b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</a:b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Design // Themes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(Right click: </a:t>
            </a:r>
            <a:r>
              <a:rPr lang="en-US" sz="999" b="0" i="1" baseline="0" noProof="0" dirty="0" smtClean="0">
                <a:solidFill>
                  <a:schemeClr val="accent5"/>
                </a:solidFill>
                <a:latin typeface="+mn-lt"/>
              </a:rPr>
              <a:t>Apply to All Slides </a:t>
            </a: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or </a:t>
            </a:r>
            <a:b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</a:br>
            <a:r>
              <a:rPr lang="en-US" sz="999" b="0" i="1" baseline="0" noProof="0" dirty="0" smtClean="0">
                <a:solidFill>
                  <a:schemeClr val="accent5"/>
                </a:solidFill>
                <a:latin typeface="+mn-lt"/>
              </a:rPr>
              <a:t>Apply to Selected Slide</a:t>
            </a: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Increase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Decrease 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7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served areas for stamps and icons</a:t>
            </a:r>
          </a:p>
        </p:txBody>
      </p:sp>
      <p:grpSp>
        <p:nvGrpSpPr>
          <p:cNvPr id="27" name="Gruppieren 26"/>
          <p:cNvGrpSpPr/>
          <p:nvPr userDrawn="1"/>
        </p:nvGrpSpPr>
        <p:grpSpPr>
          <a:xfrm>
            <a:off x="-1331307" y="-430988"/>
            <a:ext cx="1223363" cy="745124"/>
            <a:chOff x="-1331307" y="-430988"/>
            <a:chExt cx="1223363" cy="745124"/>
          </a:xfrm>
        </p:grpSpPr>
        <p:pic>
          <p:nvPicPr>
            <p:cNvPr id="28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Picture 3"/>
            <p:cNvPicPr>
              <a:picLocks noChangeAspect="1" noChangeArrowheads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6" t="37704" r="2549" b="2753"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0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Adjust footer (per slide or for several/all slides) via menu bar: Insert // Text //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38924267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7433">
          <p15:clr>
            <a:srgbClr val="A4A3A4"/>
          </p15:clr>
        </p15:guide>
        <p15:guide id="2" pos="249">
          <p15:clr>
            <a:srgbClr val="A4A3A4"/>
          </p15:clr>
        </p15:guide>
        <p15:guide id="3" orient="horz" pos="197">
          <p15:clr>
            <a:srgbClr val="A4A3A4"/>
          </p15:clr>
        </p15:guide>
        <p15:guide id="4" orient="horz" pos="2343">
          <p15:clr>
            <a:srgbClr val="A4A3A4"/>
          </p15:clr>
        </p15:guide>
        <p15:guide id="5" orient="horz" pos="4049">
          <p15:clr>
            <a:srgbClr val="A4A3A4"/>
          </p15:clr>
        </p15:guide>
        <p15:guide id="6" orient="horz" pos="2424">
          <p15:clr>
            <a:srgbClr val="A4A3A4"/>
          </p15:clr>
        </p15:guide>
        <p15:guide id="7" orient="horz" pos="3107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Presentation title in CorpoS (Body) 10 pt. | Department | Date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59456045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7433" userDrawn="1">
          <p15:clr>
            <a:srgbClr val="A4A3A4"/>
          </p15:clr>
        </p15:guide>
        <p15:guide id="2" orient="horz" pos="953" userDrawn="1">
          <p15:clr>
            <a:srgbClr val="A4A3A4"/>
          </p15:clr>
        </p15:guide>
        <p15:guide id="3" pos="249" userDrawn="1">
          <p15:clr>
            <a:srgbClr val="A4A3A4"/>
          </p15:clr>
        </p15:guide>
        <p15:guide id="4" orient="horz" pos="232" userDrawn="1">
          <p15:clr>
            <a:srgbClr val="A4A3A4"/>
          </p15:clr>
        </p15:guide>
        <p15:guide id="5" orient="horz" pos="4049" userDrawn="1">
          <p15:clr>
            <a:srgbClr val="A4A3A4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1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1"/>
            <a:ext cx="5580000" cy="4914201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3074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8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8" y="3502801"/>
            <a:ext cx="5580000" cy="2923400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2" y="3502801"/>
            <a:ext cx="5580000" cy="2923400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0253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6030980"/>
            <a:ext cx="11398862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333333"/>
                  </a:solidFill>
                </a:rPr>
                <a:t>Change image detail via menu bar: Picture Tools // Format // 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333333"/>
                  </a:solidFill>
                </a:rPr>
                <a:t>Image can be moved within the black boundaries, to adjust easily press Alt-key.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999" dirty="0" smtClean="0">
                  <a:solidFill>
                    <a:srgbClr val="333333"/>
                  </a:solidFill>
                </a:rPr>
              </a:br>
              <a:r>
                <a:rPr lang="en-US" sz="999" dirty="0" smtClean="0">
                  <a:solidFill>
                    <a:srgbClr val="333333"/>
                  </a:solidFill>
                </a:rPr>
                <a:t>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99" dirty="0" smtClean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dirty="0" smtClean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dirty="0" smtClean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dirty="0" smtClean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181530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6454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0378" y="52526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5" y="27584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5" y="15113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5" y="40055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3" y="1512000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3" y="2758867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3" y="4005734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3" y="52526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4" y="1512000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4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4" y="4005734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4" y="2758867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68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68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68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68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4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4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4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4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1" y="1512000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1" y="4005734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1" y="2758867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1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 bwMode="white">
          <a:xfrm>
            <a:off x="3993925" y="2098800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 bwMode="white">
          <a:xfrm>
            <a:off x="3993925" y="3345667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 bwMode="white">
          <a:xfrm flipH="1">
            <a:off x="7715158" y="20981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 bwMode="white">
          <a:xfrm>
            <a:off x="7715158" y="33452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 bwMode="white">
          <a:xfrm>
            <a:off x="7715158" y="45923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 bwMode="white">
          <a:xfrm>
            <a:off x="7711590" y="5839401"/>
            <a:ext cx="482813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 bwMode="white">
          <a:xfrm>
            <a:off x="3993925" y="5839401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 bwMode="white">
          <a:xfrm>
            <a:off x="3993925" y="4592534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ußzeilenplatzhalter 2"/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8612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2" y="2757600"/>
            <a:ext cx="6148800" cy="2421734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68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6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948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4" y="3851886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4" y="3383769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4" y="151130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4" y="198000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4" y="291565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4" y="4320000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4" y="2447534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2" y="1511300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33652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1944000"/>
          </a:xfrm>
          <a:solidFill>
            <a:schemeClr val="accent6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7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3501248"/>
            <a:ext cx="3752845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1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7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Foliennummernplatzhalter 2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1436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623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2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2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2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2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8781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Presentation title in CorpoS (Body) 10 pt. | Department | Date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89794" y="4042800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2" y="1511300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2" y="4043527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2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2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01849895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7433" userDrawn="1">
          <p15:clr>
            <a:srgbClr val="A4A3A4"/>
          </p15:clr>
        </p15:guide>
        <p15:guide id="2" pos="249" userDrawn="1">
          <p15:clr>
            <a:srgbClr val="A4A3A4"/>
          </p15:clr>
        </p15:guide>
        <p15:guide id="3" orient="horz" pos="232" userDrawn="1">
          <p15:clr>
            <a:srgbClr val="A4A3A4"/>
          </p15:clr>
        </p15:guide>
        <p15:guide id="4" orient="horz" pos="953" userDrawn="1">
          <p15:clr>
            <a:srgbClr val="A4A3A4"/>
          </p15:clr>
        </p15:guide>
        <p15:guide id="5" orient="horz" pos="4049" userDrawn="1">
          <p15:clr>
            <a:srgbClr val="A4A3A4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4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6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8784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de-DE" sz="1999" dirty="0" smtClean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// for bullets: Home // Paragraph// Increase List 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chemeClr val="accent6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29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78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69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69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4963432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de-DE" sz="1999" dirty="0" smtClean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// for bullets: Home // Paragraph// Increase List 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3495678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78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6" y="3495678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68"/>
            <a:ext cx="37548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9622382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 with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4526573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395795" y="1786681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395795" y="462604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395795" y="3206363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5795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4526573" y="6043658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395795" y="6045725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8846408" y="178616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8846408" y="462449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8846408" y="320532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8846408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8846408" y="6043658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44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45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7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6587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2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0"/>
            <a:ext cx="2994158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2" y="1155600"/>
            <a:ext cx="2994158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2" y="4619700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55080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95082" y="1512001"/>
            <a:ext cx="5508000" cy="2949301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99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1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3095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1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0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1"/>
            <a:ext cx="2993642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5774400"/>
            <a:ext cx="2994158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2" y="2309400"/>
            <a:ext cx="2994158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2" y="0"/>
            <a:ext cx="2994158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67357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2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57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57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0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0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0"/>
            <a:ext cx="299364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35853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540000"/>
          </a:xfrm>
        </p:spPr>
        <p:txBody>
          <a:bodyPr/>
          <a:lstStyle>
            <a:lvl1pPr>
              <a:defRPr sz="2999" baseline="0"/>
            </a:lvl1pPr>
          </a:lstStyle>
          <a:p>
            <a:r>
              <a:rPr lang="en-US" noProof="0" dirty="0" smtClean="0"/>
              <a:t>Optional headline on one line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endParaRPr lang="en-US" noProof="0" dirty="0"/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7853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 headline on two lines als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Text slides are in CorpoS Regular, 20 pt.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>
          <a:xfrm>
            <a:off x="6552020" y="6533978"/>
            <a:ext cx="799956" cy="323841"/>
          </a:xfrm>
          <a:prstGeom prst="rect">
            <a:avLst/>
          </a:prstGeom>
        </p:spPr>
        <p:txBody>
          <a:bodyPr/>
          <a:lstStyle/>
          <a:p>
            <a:fld id="{89C21B84-5677-4D13-87CD-BAE99238E6D2}" type="datetime1">
              <a:rPr lang="en-US" smtClean="0">
                <a:solidFill>
                  <a:prstClr val="black"/>
                </a:solidFill>
              </a:rPr>
              <a:pPr/>
              <a:t>8/28/2018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S&amp;M AS Vans Department, Mercedes-Benz Russia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418277" y="161180"/>
            <a:ext cx="7416600" cy="228594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70"/>
            </a:lvl1pPr>
            <a:lvl2pPr marL="0" indent="0">
              <a:buNone/>
              <a:defRPr sz="1587"/>
            </a:lvl2pPr>
            <a:lvl3pPr marL="0" indent="0">
              <a:buNone/>
              <a:defRPr sz="1587"/>
            </a:lvl3pPr>
            <a:lvl4pPr marL="0" indent="0">
              <a:buNone/>
              <a:defRPr sz="1587"/>
            </a:lvl4pPr>
            <a:lvl5pPr marL="0" indent="0">
              <a:buNone/>
              <a:defRPr sz="1587"/>
            </a:lvl5pPr>
            <a:lvl6pPr marL="0" indent="0">
              <a:buNone/>
              <a:defRPr sz="1587"/>
            </a:lvl6pPr>
            <a:lvl7pPr marL="0" indent="0">
              <a:buNone/>
              <a:defRPr sz="1587"/>
            </a:lvl7pPr>
            <a:lvl8pPr marL="0" indent="0">
              <a:buNone/>
              <a:defRPr sz="1587"/>
            </a:lvl8pPr>
            <a:lvl9pPr marL="0" indent="0">
              <a:buNone/>
              <a:defRPr sz="1587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785269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713864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21430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Presentation title in CorpoS (Body) 10 pt. | Department | Date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4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6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58086276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49" userDrawn="1">
          <p15:clr>
            <a:srgbClr val="A4A3A4"/>
          </p15:clr>
        </p15:guide>
        <p15:guide id="2" pos="7433" userDrawn="1">
          <p15:clr>
            <a:srgbClr val="A4A3A4"/>
          </p15:clr>
        </p15:guide>
        <p15:guide id="3" orient="horz" pos="953" userDrawn="1">
          <p15:clr>
            <a:srgbClr val="A4A3A4"/>
          </p15:clr>
        </p15:guide>
        <p15:guide id="4" orient="horz" pos="4049" userDrawn="1">
          <p15:clr>
            <a:srgbClr val="A4A3A4"/>
          </p15:clr>
        </p15:guide>
        <p15:guide id="5" orient="horz" pos="232" userDrawn="1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7"/>
              </a:spcAft>
            </a:pPr>
            <a:endParaRPr lang="en-US" sz="1999" dirty="0" smtClean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Presentation title in CorpoS (Body) 10 pt. | Department | Date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 smtClean="0"/>
              <a:t>Insert text in CorpoS (Body), 20 pt. // for bullets: Home // Paragraph// Increase List 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29"/>
            <a:ext cx="3754800" cy="1910916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448674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78"/>
            <a:ext cx="3752845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69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69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2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5960902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953" userDrawn="1">
          <p15:clr>
            <a:srgbClr val="A4A3A4"/>
          </p15:clr>
        </p15:guide>
        <p15:guide id="2" pos="249" userDrawn="1">
          <p15:clr>
            <a:srgbClr val="A4A3A4"/>
          </p15:clr>
        </p15:guide>
        <p15:guide id="3" pos="7433" userDrawn="1">
          <p15:clr>
            <a:srgbClr val="A4A3A4"/>
          </p15:clr>
        </p15:guide>
        <p15:guide id="4" orient="horz" pos="4049" userDrawn="1">
          <p15:clr>
            <a:srgbClr val="A4A3A4"/>
          </p15:clr>
        </p15:guide>
        <p15:guide id="5" orient="horz" pos="232" userDrawn="1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7"/>
              </a:spcAft>
            </a:pPr>
            <a:endParaRPr lang="en-US" sz="1999" dirty="0" smtClean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/>
          <a:p>
            <a:r>
              <a:rPr lang="en-US" noProof="0" smtClean="0"/>
              <a:t>Presentation title in CorpoS (Body) 10 pt. | Department | Date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 userDrawn="1"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 smtClean="0"/>
              <a:t>Insert text in CorpoS (Body), 20 pt. // for bullets: Home // Paragraph// Increase List 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3495678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78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6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68"/>
            <a:ext cx="37548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14577393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7433" userDrawn="1">
          <p15:clr>
            <a:srgbClr val="A4A3A4"/>
          </p15:clr>
        </p15:guide>
        <p15:guide id="2" orient="horz" pos="953" userDrawn="1">
          <p15:clr>
            <a:srgbClr val="A4A3A4"/>
          </p15:clr>
        </p15:guide>
        <p15:guide id="3" orient="horz" pos="232" userDrawn="1">
          <p15:clr>
            <a:srgbClr val="A4A3A4"/>
          </p15:clr>
        </p15:guide>
        <p15:guide id="4" orient="horz" pos="4049" userDrawn="1">
          <p15:clr>
            <a:srgbClr val="A4A3A4"/>
          </p15:clr>
        </p15:guide>
        <p15:guide id="5" pos="249" userDrawn="1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icture with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77" hasCustomPrompt="1"/>
          </p:nvPr>
        </p:nvSpPr>
        <p:spPr>
          <a:xfrm>
            <a:off x="4526573" y="366999"/>
            <a:ext cx="294889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20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1" hasCustomPrompt="1"/>
          </p:nvPr>
        </p:nvSpPr>
        <p:spPr>
          <a:xfrm>
            <a:off x="395795" y="1786681"/>
            <a:ext cx="294889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20 pt.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72" hasCustomPrompt="1"/>
          </p:nvPr>
        </p:nvSpPr>
        <p:spPr>
          <a:xfrm>
            <a:off x="395795" y="4626044"/>
            <a:ext cx="294889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20 pt.</a:t>
            </a:r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75" hasCustomPrompt="1"/>
          </p:nvPr>
        </p:nvSpPr>
        <p:spPr>
          <a:xfrm>
            <a:off x="395795" y="3206363"/>
            <a:ext cx="294889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20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66999"/>
            <a:ext cx="294889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 baseline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20 pt.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78" hasCustomPrompt="1"/>
          </p:nvPr>
        </p:nvSpPr>
        <p:spPr>
          <a:xfrm>
            <a:off x="4526573" y="6043658"/>
            <a:ext cx="294889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20 pt.</a:t>
            </a:r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68" hasCustomPrompt="1"/>
          </p:nvPr>
        </p:nvSpPr>
        <p:spPr>
          <a:xfrm>
            <a:off x="395795" y="6045725"/>
            <a:ext cx="294889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20 pt.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73" hasCustomPrompt="1"/>
          </p:nvPr>
        </p:nvSpPr>
        <p:spPr>
          <a:xfrm>
            <a:off x="8846408" y="1786164"/>
            <a:ext cx="294889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20 pt.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74" hasCustomPrompt="1"/>
          </p:nvPr>
        </p:nvSpPr>
        <p:spPr>
          <a:xfrm>
            <a:off x="8846408" y="4624494"/>
            <a:ext cx="294889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76" hasCustomPrompt="1"/>
          </p:nvPr>
        </p:nvSpPr>
        <p:spPr>
          <a:xfrm>
            <a:off x="8846408" y="3205329"/>
            <a:ext cx="294889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20 pt.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69" hasCustomPrompt="1"/>
          </p:nvPr>
        </p:nvSpPr>
        <p:spPr>
          <a:xfrm>
            <a:off x="8846408" y="366999"/>
            <a:ext cx="294889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20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0" hasCustomPrompt="1"/>
          </p:nvPr>
        </p:nvSpPr>
        <p:spPr>
          <a:xfrm>
            <a:off x="8846408" y="6043658"/>
            <a:ext cx="2948894" cy="380470"/>
          </a:xfrm>
          <a:solidFill>
            <a:schemeClr val="bg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20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84914899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7433" userDrawn="1">
          <p15:clr>
            <a:srgbClr val="A4A3A4"/>
          </p15:clr>
        </p15:guide>
        <p15:guide id="3" pos="249" userDrawn="1">
          <p15:clr>
            <a:srgbClr val="A4A3A4"/>
          </p15:clr>
        </p15:guide>
        <p15:guide id="4" orient="horz" pos="4049" userDrawn="1">
          <p15:clr>
            <a:srgbClr val="A4A3A4"/>
          </p15:clr>
        </p15:guide>
        <p15:guide id="5" orient="horz" pos="232" userDrawn="1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2" cy="6858824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0"/>
            <a:ext cx="2994158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2" y="1155600"/>
            <a:ext cx="2994158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2" y="4619700"/>
            <a:ext cx="29939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black">
          <a:xfrm>
            <a:off x="395083" y="368300"/>
            <a:ext cx="5508000" cy="10083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Headline on two lines in CorpoA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 bwMode="black">
          <a:xfrm>
            <a:off x="395082" y="1512001"/>
            <a:ext cx="5508000" cy="294930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Insert text in </a:t>
            </a:r>
            <a:r>
              <a:rPr lang="en-US" noProof="0" dirty="0" smtClean="0"/>
              <a:t>CorpoS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 bwMode="black"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95960347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32" userDrawn="1">
          <p15:clr>
            <a:srgbClr val="A4A3A4"/>
          </p15:clr>
        </p15:guide>
        <p15:guide id="2" orient="horz" pos="953" userDrawn="1">
          <p15:clr>
            <a:srgbClr val="A4A3A4"/>
          </p15:clr>
        </p15:guide>
        <p15:guide id="3" orient="horz" pos="4049" userDrawn="1">
          <p15:clr>
            <a:srgbClr val="A4A3A4"/>
          </p15:clr>
        </p15:guide>
        <p15:guide id="4" pos="7433" userDrawn="1">
          <p15:clr>
            <a:srgbClr val="A4A3A4"/>
          </p15:clr>
        </p15:guide>
        <p15:guide id="5" pos="249" userDrawn="1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1"/>
            <a:ext cx="6062400" cy="4547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0"/>
            <a:ext cx="60624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1"/>
            <a:ext cx="2993642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5774400"/>
            <a:ext cx="2994158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2" y="2309400"/>
            <a:ext cx="2994158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2" y="0"/>
            <a:ext cx="2994158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04723786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49" userDrawn="1">
          <p15:clr>
            <a:srgbClr val="A4A3A4"/>
          </p15:clr>
        </p15:guide>
        <p15:guide id="2" pos="7433" userDrawn="1">
          <p15:clr>
            <a:srgbClr val="A4A3A4"/>
          </p15:clr>
        </p15:guide>
        <p15:guide id="3" orient="horz" pos="232" userDrawn="1">
          <p15:clr>
            <a:srgbClr val="A4A3A4"/>
          </p15:clr>
        </p15:guide>
        <p15:guide id="5" orient="horz" pos="4049" userDrawn="1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en-US" sz="1999" dirty="0" smtClean="0"/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en-US" sz="1999" dirty="0" smtClean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2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57" y="5774400"/>
            <a:ext cx="2993383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57" y="2309400"/>
            <a:ext cx="2993383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0"/>
            <a:ext cx="29952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0"/>
            <a:ext cx="2993640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0"/>
            <a:ext cx="29952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51017128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49" userDrawn="1">
          <p15:clr>
            <a:srgbClr val="A4A3A4"/>
          </p15:clr>
        </p15:guide>
        <p15:guide id="2" orient="horz" pos="232" userDrawn="1">
          <p15:clr>
            <a:srgbClr val="A4A3A4"/>
          </p15:clr>
        </p15:guide>
        <p15:guide id="3" pos="7433" userDrawn="1">
          <p15:clr>
            <a:srgbClr val="A4A3A4"/>
          </p15:clr>
        </p15:guide>
        <p15:guide id="5" orient="horz" pos="4049" userDrawn="1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395084" y="368300"/>
            <a:ext cx="11400249" cy="540000"/>
          </a:xfrm>
        </p:spPr>
        <p:txBody>
          <a:bodyPr/>
          <a:lstStyle>
            <a:lvl1pPr>
              <a:defRPr sz="2999"/>
            </a:lvl1pPr>
          </a:lstStyle>
          <a:p>
            <a:r>
              <a:rPr lang="en-US" noProof="0" dirty="0" smtClean="0"/>
              <a:t>Optional headline on one line in CorpoA (Headings) 30 pt.</a:t>
            </a:r>
            <a:endParaRPr lang="en-US" noProof="0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54757256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32" userDrawn="1">
          <p15:clr>
            <a:srgbClr val="A4A3A4"/>
          </p15:clr>
        </p15:guide>
        <p15:guide id="3" orient="horz" pos="4049" userDrawn="1">
          <p15:clr>
            <a:srgbClr val="A4A3A4"/>
          </p15:clr>
        </p15:guide>
        <p15:guide id="4" pos="249" userDrawn="1">
          <p15:clr>
            <a:srgbClr val="A4A3A4"/>
          </p15:clr>
        </p15:guide>
        <p15:guide id="5" pos="7433" userDrawn="1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mmercial Vans \\ Multipicture">
    <p:bg bwMode="black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Grafik 3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6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2"/>
            <a:ext cx="9396000" cy="1044000"/>
          </a:xfrm>
        </p:spPr>
        <p:txBody>
          <a:bodyPr/>
          <a:lstStyle>
            <a:lvl1pPr>
              <a:lnSpc>
                <a:spcPts val="3997"/>
              </a:lnSpc>
              <a:defRPr sz="2999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 on one line in CorpoA (Headings) 30 pt.</a:t>
            </a:r>
            <a:br>
              <a:rPr lang="en-US" dirty="0" smtClean="0"/>
            </a:br>
            <a:r>
              <a:rPr lang="en-US" noProof="0" dirty="0" smtClean="0"/>
              <a:t>On two lines possible.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081" y="4932363"/>
            <a:ext cx="9396000" cy="755637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 smtClean="0"/>
              <a:t>Additional text for presentation 15 pt </a:t>
            </a:r>
            <a:br>
              <a:rPr lang="en-US" noProof="0" dirty="0" smtClean="0"/>
            </a:br>
            <a:r>
              <a:rPr lang="en-US" noProof="0" dirty="0" smtClean="0"/>
              <a:t>Speaker, department, place, dat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</a:t>
            </a:r>
          </a:p>
        </p:txBody>
      </p:sp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Reset the slide back to its 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original form via menu bar: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Home // Slides // Reset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99" b="0" baseline="0" noProof="0" dirty="0" smtClean="0">
              <a:solidFill>
                <a:schemeClr val="accent5"/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Change the slide layout 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via menu bar: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Home // Slides // Layout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99" b="0" baseline="0" noProof="0" dirty="0" smtClean="0">
              <a:solidFill>
                <a:schemeClr val="accent5"/>
              </a:solidFill>
              <a:latin typeface="+mn-lt"/>
            </a:endParaRP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Change the text level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via menu bar: </a:t>
            </a:r>
            <a:b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</a:b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Home // Paragraph // Increase/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Alternating between white and black slide layouts via menu bar: </a:t>
            </a:r>
            <a:b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</a:b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Design // Themes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(Right click: </a:t>
            </a:r>
            <a:r>
              <a:rPr lang="en-US" sz="999" b="0" i="1" baseline="0" noProof="0" dirty="0" smtClean="0">
                <a:solidFill>
                  <a:schemeClr val="accent5"/>
                </a:solidFill>
                <a:latin typeface="+mn-lt"/>
              </a:rPr>
              <a:t>Apply to All Slides </a:t>
            </a: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or </a:t>
            </a:r>
            <a:b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</a:br>
            <a:r>
              <a:rPr lang="en-US" sz="999" b="0" i="1" baseline="0" noProof="0" dirty="0" smtClean="0">
                <a:solidFill>
                  <a:schemeClr val="accent5"/>
                </a:solidFill>
                <a:latin typeface="+mn-lt"/>
              </a:rPr>
              <a:t>Apply to Selected Slide</a:t>
            </a: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Increase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Decrease 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7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served areas for stamps and icons</a:t>
            </a:r>
          </a:p>
        </p:txBody>
      </p:sp>
      <p:grpSp>
        <p:nvGrpSpPr>
          <p:cNvPr id="27" name="Gruppieren 26"/>
          <p:cNvGrpSpPr/>
          <p:nvPr userDrawn="1"/>
        </p:nvGrpSpPr>
        <p:grpSpPr>
          <a:xfrm>
            <a:off x="-1331307" y="-430988"/>
            <a:ext cx="1223363" cy="745124"/>
            <a:chOff x="-1331307" y="-430988"/>
            <a:chExt cx="1223363" cy="745124"/>
          </a:xfrm>
        </p:grpSpPr>
        <p:pic>
          <p:nvPicPr>
            <p:cNvPr id="28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Picture 3"/>
            <p:cNvPicPr>
              <a:picLocks noChangeAspect="1" noChangeArrowheads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6" t="37704" r="2549" b="2753"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0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Adjust footer (per slide or for several/all slides) via menu bar: Insert // Text // Header &amp; Footer</a:t>
            </a:r>
          </a:p>
        </p:txBody>
      </p:sp>
      <p:sp>
        <p:nvSpPr>
          <p:cNvPr id="26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512389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rgbClr val="FFFFFF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Insert image</a:t>
            </a:r>
            <a:endParaRPr lang="de-DE" noProof="0" dirty="0"/>
          </a:p>
        </p:txBody>
      </p:sp>
      <p:sp>
        <p:nvSpPr>
          <p:cNvPr id="32" name="Bildplatzhalter 8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5195900" y="313200"/>
            <a:ext cx="700090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rgbClr val="FFFFFF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Insert imag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1120857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7433">
          <p15:clr>
            <a:srgbClr val="A4A3A4"/>
          </p15:clr>
        </p15:guide>
        <p15:guide id="2" pos="249">
          <p15:clr>
            <a:srgbClr val="A4A3A4"/>
          </p15:clr>
        </p15:guide>
        <p15:guide id="3" orient="horz" pos="197">
          <p15:clr>
            <a:srgbClr val="A4A3A4"/>
          </p15:clr>
        </p15:guide>
        <p15:guide id="4" orient="horz" pos="2343">
          <p15:clr>
            <a:srgbClr val="A4A3A4"/>
          </p15:clr>
        </p15:guide>
        <p15:guide id="5" orient="horz" pos="4049">
          <p15:clr>
            <a:srgbClr val="A4A3A4"/>
          </p15:clr>
        </p15:guide>
        <p15:guide id="6" orient="horz" pos="2424">
          <p15:clr>
            <a:srgbClr val="A4A3A4"/>
          </p15:clr>
        </p15:guide>
        <p15:guide id="7" orient="horz" pos="3107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rivate Vans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100"/>
            <a:ext cx="9396000" cy="1044301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dirty="0" smtClean="0"/>
              <a:t>Presentation title on one line in CorpoA (Headings) 30 pt.</a:t>
            </a:r>
            <a:br>
              <a:rPr lang="en-US" dirty="0" smtClean="0"/>
            </a:br>
            <a:r>
              <a:rPr lang="en-US" noProof="0" dirty="0" smtClean="0"/>
              <a:t>On two lines possible.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362"/>
            <a:ext cx="9396000" cy="755637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 smtClean="0"/>
              <a:t>Additional text for presentation 15 pt </a:t>
            </a:r>
            <a:br>
              <a:rPr lang="en-US" noProof="0" dirty="0" smtClean="0"/>
            </a:br>
            <a:r>
              <a:rPr lang="en-US" noProof="0" dirty="0" smtClean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Reset the slide back to its 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original form via menu bar: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Home // Slides // Reset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99" b="0" baseline="0" noProof="0" dirty="0" smtClean="0">
              <a:solidFill>
                <a:schemeClr val="accent5"/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Change the slide layout 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via menu bar: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Home // Slides // Layout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99" b="0" baseline="0" noProof="0" dirty="0" smtClean="0">
              <a:solidFill>
                <a:schemeClr val="accent5"/>
              </a:solidFill>
              <a:latin typeface="+mn-lt"/>
            </a:endParaRP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Change the text level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via menu bar: </a:t>
            </a:r>
            <a:b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</a:b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Home // Paragraph // Increase/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Alternating between white and black slide layouts via menu bar: </a:t>
            </a:r>
            <a:b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</a:b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Design // Themes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(Right click: </a:t>
            </a:r>
            <a:r>
              <a:rPr lang="en-US" sz="999" b="0" i="1" baseline="0" noProof="0" dirty="0" smtClean="0">
                <a:solidFill>
                  <a:schemeClr val="accent5"/>
                </a:solidFill>
                <a:latin typeface="+mn-lt"/>
              </a:rPr>
              <a:t>Apply to All Slides </a:t>
            </a: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or </a:t>
            </a:r>
            <a:b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</a:br>
            <a:r>
              <a:rPr lang="en-US" sz="999" b="0" i="1" baseline="0" noProof="0" dirty="0" smtClean="0">
                <a:solidFill>
                  <a:schemeClr val="accent5"/>
                </a:solidFill>
                <a:latin typeface="+mn-lt"/>
              </a:rPr>
              <a:t>Apply to Selected Slide</a:t>
            </a: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Increase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Decrease 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Adjust footer (per slide or for several/all slides) via menu bar: Insert // Text // Header &amp; Footer</a:t>
            </a:r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-1331307" y="-430988"/>
            <a:ext cx="1223363" cy="745124"/>
            <a:chOff x="-1331307" y="-430988"/>
            <a:chExt cx="1223363" cy="745124"/>
          </a:xfrm>
        </p:grpSpPr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3"/>
            <p:cNvPicPr>
              <a:picLocks noChangeAspect="1" noChangeArrowheads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6" t="37704" r="2549" b="2753"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5877965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7433" userDrawn="1">
          <p15:clr>
            <a:srgbClr val="A4A3A4"/>
          </p15:clr>
        </p15:guide>
        <p15:guide id="2" pos="249" userDrawn="1">
          <p15:clr>
            <a:srgbClr val="A4A3A4"/>
          </p15:clr>
        </p15:guide>
        <p15:guide id="3" orient="horz" pos="197" userDrawn="1">
          <p15:clr>
            <a:srgbClr val="A4A3A4"/>
          </p15:clr>
        </p15:guide>
        <p15:guide id="4" orient="horz" pos="2343" userDrawn="1">
          <p15:clr>
            <a:srgbClr val="A4A3A4"/>
          </p15:clr>
        </p15:guide>
        <p15:guide id="5" orient="horz" pos="4049" userDrawn="1">
          <p15:clr>
            <a:srgbClr val="A4A3A4"/>
          </p15:clr>
        </p15:guide>
        <p15:guide id="6" orient="horz" pos="2424" userDrawn="1">
          <p15:clr>
            <a:srgbClr val="A4A3A4"/>
          </p15:clr>
        </p15:guide>
        <p15:guide id="7" orient="horz" pos="3107" userDrawn="1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mmercial Vans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6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100"/>
            <a:ext cx="9396000" cy="1044301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dirty="0" smtClean="0"/>
              <a:t>Presentation title on one line in CorpoA (Headings) 30 pt.</a:t>
            </a:r>
            <a:br>
              <a:rPr lang="en-US" dirty="0" smtClean="0"/>
            </a:br>
            <a:r>
              <a:rPr lang="en-US" noProof="0" dirty="0" smtClean="0"/>
              <a:t>On two lines possible.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362"/>
            <a:ext cx="9396000" cy="755637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 smtClean="0"/>
              <a:t>Additional text for presentation 15 pt </a:t>
            </a:r>
            <a:br>
              <a:rPr lang="en-US" noProof="0" dirty="0" smtClean="0"/>
            </a:br>
            <a:r>
              <a:rPr lang="en-US" noProof="0" dirty="0" smtClean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Reset the slide back to its 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original form via menu bar: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Home // Slides // Reset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99" b="0" baseline="0" noProof="0" dirty="0" smtClean="0">
              <a:solidFill>
                <a:schemeClr val="accent5"/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Change the slide layout 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via menu bar: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Home // Slides // Layout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99" b="0" baseline="0" noProof="0" dirty="0" smtClean="0">
              <a:solidFill>
                <a:schemeClr val="accent5"/>
              </a:solidFill>
              <a:latin typeface="+mn-lt"/>
            </a:endParaRP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Change the text level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via menu bar: </a:t>
            </a:r>
            <a:b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</a:b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Home // Paragraph // Increase/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Alternating between white and black slide layouts via menu bar: </a:t>
            </a:r>
            <a:b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</a:b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Design // Themes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(Right click: </a:t>
            </a:r>
            <a:r>
              <a:rPr lang="en-US" sz="999" b="0" i="1" baseline="0" noProof="0" dirty="0" smtClean="0">
                <a:solidFill>
                  <a:schemeClr val="accent5"/>
                </a:solidFill>
                <a:latin typeface="+mn-lt"/>
              </a:rPr>
              <a:t>Apply to All Slides </a:t>
            </a: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or </a:t>
            </a:r>
            <a:b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</a:br>
            <a:r>
              <a:rPr lang="en-US" sz="999" b="0" i="1" baseline="0" noProof="0" dirty="0" smtClean="0">
                <a:solidFill>
                  <a:schemeClr val="accent5"/>
                </a:solidFill>
                <a:latin typeface="+mn-lt"/>
              </a:rPr>
              <a:t>Apply to Selected Slide</a:t>
            </a: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Increase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Decrease 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Adjust footer (per slide or for several/all slides) via menu bar: Insert // Text // Header &amp; Footer</a:t>
            </a:r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-1331307" y="-430988"/>
            <a:ext cx="1223363" cy="745124"/>
            <a:chOff x="-1331307" y="-430988"/>
            <a:chExt cx="1223363" cy="745124"/>
          </a:xfrm>
        </p:grpSpPr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3"/>
            <p:cNvPicPr>
              <a:picLocks noChangeAspect="1" noChangeArrowheads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6" t="37704" r="2549" b="2753"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912909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7433">
          <p15:clr>
            <a:srgbClr val="A4A3A4"/>
          </p15:clr>
        </p15:guide>
        <p15:guide id="2" pos="249">
          <p15:clr>
            <a:srgbClr val="A4A3A4"/>
          </p15:clr>
        </p15:guide>
        <p15:guide id="3" orient="horz" pos="197">
          <p15:clr>
            <a:srgbClr val="A4A3A4"/>
          </p15:clr>
        </p15:guide>
        <p15:guide id="4" orient="horz" pos="2343">
          <p15:clr>
            <a:srgbClr val="A4A3A4"/>
          </p15:clr>
        </p15:guide>
        <p15:guide id="5" orient="horz" pos="4049">
          <p15:clr>
            <a:srgbClr val="A4A3A4"/>
          </p15:clr>
        </p15:guide>
        <p15:guide id="6" orient="horz" pos="2424">
          <p15:clr>
            <a:srgbClr val="A4A3A4"/>
          </p15:clr>
        </p15:guide>
        <p15:guide id="7" orient="horz" pos="3107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mmercial Vans \\ Multipicture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6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100"/>
            <a:ext cx="9396000" cy="1044301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dirty="0" smtClean="0"/>
              <a:t>Presentation title on one line in CorpoA (Headings) 30 pt.</a:t>
            </a:r>
            <a:br>
              <a:rPr lang="en-US" dirty="0" smtClean="0"/>
            </a:br>
            <a:r>
              <a:rPr lang="en-US" noProof="0" dirty="0" smtClean="0"/>
              <a:t>On two lines possible.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362"/>
            <a:ext cx="9396000" cy="755637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 smtClean="0"/>
              <a:t>Additional text for presentation 15 pt </a:t>
            </a:r>
            <a:br>
              <a:rPr lang="en-US" noProof="0" dirty="0" smtClean="0"/>
            </a:br>
            <a:r>
              <a:rPr lang="en-US" noProof="0" dirty="0" smtClean="0"/>
              <a:t>Speaker, department, place, dat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Reset the slide back to its 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original form via menu bar: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Home // Slides // Reset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99" b="0" baseline="0" noProof="0" dirty="0" smtClean="0">
              <a:solidFill>
                <a:schemeClr val="accent5"/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Change the slide layout 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via menu bar: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Home // Slides // Layout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99" b="0" baseline="0" noProof="0" dirty="0" smtClean="0">
              <a:solidFill>
                <a:schemeClr val="accent5"/>
              </a:solidFill>
              <a:latin typeface="+mn-lt"/>
            </a:endParaRP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Change the text level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via menu bar: </a:t>
            </a:r>
            <a:b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</a:b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Home // Paragraph // Increase/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Alternating between white and black slide layouts via menu bar: </a:t>
            </a:r>
            <a:b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</a:b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Design // Themes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(Right click: </a:t>
            </a:r>
            <a:r>
              <a:rPr lang="en-US" sz="999" b="0" i="1" baseline="0" noProof="0" dirty="0" smtClean="0">
                <a:solidFill>
                  <a:schemeClr val="accent5"/>
                </a:solidFill>
                <a:latin typeface="+mn-lt"/>
              </a:rPr>
              <a:t>Apply to All Slides </a:t>
            </a: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or </a:t>
            </a:r>
            <a:b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</a:br>
            <a:r>
              <a:rPr lang="en-US" sz="999" b="0" i="1" baseline="0" noProof="0" dirty="0" smtClean="0">
                <a:solidFill>
                  <a:schemeClr val="accent5"/>
                </a:solidFill>
                <a:latin typeface="+mn-lt"/>
              </a:rPr>
              <a:t>Apply to Selected Slide</a:t>
            </a: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Increase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Decrease 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Adjust footer (per slide or for several/all slides) via menu bar: Insert // Text // Header &amp; Footer</a:t>
            </a:r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-1331307" y="-430988"/>
            <a:ext cx="1223363" cy="745124"/>
            <a:chOff x="-1331307" y="-430988"/>
            <a:chExt cx="1223363" cy="745124"/>
          </a:xfrm>
        </p:grpSpPr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3"/>
            <p:cNvPicPr>
              <a:picLocks noChangeAspect="1" noChangeArrowheads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6" t="37704" r="2549" b="2753"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512389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rgbClr val="FFFFFF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Insert image</a:t>
            </a:r>
            <a:endParaRPr lang="de-DE" noProof="0" dirty="0"/>
          </a:p>
        </p:txBody>
      </p:sp>
      <p:sp>
        <p:nvSpPr>
          <p:cNvPr id="27" name="Bildplatzhalter 8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5195900" y="313200"/>
            <a:ext cx="700090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rgbClr val="FFFFFF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Insert imag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06367112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7433">
          <p15:clr>
            <a:srgbClr val="A4A3A4"/>
          </p15:clr>
        </p15:guide>
        <p15:guide id="2" pos="249">
          <p15:clr>
            <a:srgbClr val="A4A3A4"/>
          </p15:clr>
        </p15:guide>
        <p15:guide id="3" orient="horz" pos="197">
          <p15:clr>
            <a:srgbClr val="A4A3A4"/>
          </p15:clr>
        </p15:guide>
        <p15:guide id="4" orient="horz" pos="2343">
          <p15:clr>
            <a:srgbClr val="A4A3A4"/>
          </p15:clr>
        </p15:guide>
        <p15:guide id="5" orient="horz" pos="4049">
          <p15:clr>
            <a:srgbClr val="A4A3A4"/>
          </p15:clr>
        </p15:guide>
        <p15:guide id="6" orient="horz" pos="2424">
          <p15:clr>
            <a:srgbClr val="A4A3A4"/>
          </p15:clr>
        </p15:guide>
        <p15:guide id="7" orient="horz" pos="3107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mmercial Vans \\ Multipicture 2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6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100"/>
            <a:ext cx="9396000" cy="1044301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dirty="0" smtClean="0"/>
              <a:t>Presentation title on one line in CorpoA (Headings) 30 pt.</a:t>
            </a:r>
            <a:br>
              <a:rPr lang="en-US" dirty="0" smtClean="0"/>
            </a:br>
            <a:r>
              <a:rPr lang="en-US" noProof="0" dirty="0" smtClean="0"/>
              <a:t>On two lines possible.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362"/>
            <a:ext cx="9396000" cy="755637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 smtClean="0"/>
              <a:t>Additional text for presentation 15 pt </a:t>
            </a:r>
            <a:br>
              <a:rPr lang="en-US" noProof="0" dirty="0" smtClean="0"/>
            </a:br>
            <a:r>
              <a:rPr lang="en-US" noProof="0" dirty="0" smtClean="0"/>
              <a:t>Speaker, department, place, dat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Reset the slide back to its 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original form via menu bar: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Home // Slides // Reset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99" b="0" baseline="0" noProof="0" dirty="0" smtClean="0">
              <a:solidFill>
                <a:schemeClr val="accent5"/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Change the slide layout 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via menu bar: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Home // Slides // Layout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99" b="0" baseline="0" noProof="0" dirty="0" smtClean="0">
              <a:solidFill>
                <a:schemeClr val="accent5"/>
              </a:solidFill>
              <a:latin typeface="+mn-lt"/>
            </a:endParaRP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Change the text level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via menu bar: </a:t>
            </a:r>
            <a:b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</a:b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Home // Paragraph // Increase/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Alternating between white and black slide layouts via menu bar: </a:t>
            </a:r>
            <a:b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</a:b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Design // Themes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(Right click: </a:t>
            </a:r>
            <a:r>
              <a:rPr lang="en-US" sz="999" b="0" i="1" baseline="0" noProof="0" dirty="0" smtClean="0">
                <a:solidFill>
                  <a:schemeClr val="accent5"/>
                </a:solidFill>
                <a:latin typeface="+mn-lt"/>
              </a:rPr>
              <a:t>Apply to All Slides </a:t>
            </a: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or </a:t>
            </a:r>
            <a:b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</a:br>
            <a:r>
              <a:rPr lang="en-US" sz="999" b="0" i="1" baseline="0" noProof="0" dirty="0" smtClean="0">
                <a:solidFill>
                  <a:schemeClr val="accent5"/>
                </a:solidFill>
                <a:latin typeface="+mn-lt"/>
              </a:rPr>
              <a:t>Apply to Selected Slide</a:t>
            </a: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Increase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Decrease 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Adjust footer (per slide or for several/all slides) via menu bar: Insert // Text // Header &amp; Footer</a:t>
            </a:r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-1331307" y="-430988"/>
            <a:ext cx="1223363" cy="745124"/>
            <a:chOff x="-1331307" y="-430988"/>
            <a:chExt cx="1223363" cy="745124"/>
          </a:xfrm>
        </p:grpSpPr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3"/>
            <p:cNvPicPr>
              <a:picLocks noChangeAspect="1" noChangeArrowheads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6" t="37704" r="2549" b="2753"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8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313201"/>
            <a:ext cx="7107286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rgbClr val="FFFFFF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Insert image</a:t>
            </a:r>
            <a:endParaRPr lang="de-DE" noProof="0" dirty="0"/>
          </a:p>
        </p:txBody>
      </p:sp>
      <p:sp>
        <p:nvSpPr>
          <p:cNvPr id="29" name="Bildplatzhalter 8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7192800" y="313200"/>
            <a:ext cx="2458800" cy="1659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rgbClr val="FFFFFF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Insert image</a:t>
            </a:r>
            <a:endParaRPr lang="de-DE" noProof="0" dirty="0"/>
          </a:p>
        </p:txBody>
      </p:sp>
      <p:sp>
        <p:nvSpPr>
          <p:cNvPr id="30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9734400" y="313200"/>
            <a:ext cx="2458800" cy="1659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rgbClr val="FFFFFF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Insert image</a:t>
            </a:r>
            <a:endParaRPr lang="de-DE" noProof="0" dirty="0"/>
          </a:p>
        </p:txBody>
      </p:sp>
      <p:sp>
        <p:nvSpPr>
          <p:cNvPr id="31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734400" y="2059200"/>
            <a:ext cx="2458800" cy="1659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rgbClr val="FFFFFF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Insert image</a:t>
            </a:r>
            <a:endParaRPr lang="de-DE" noProof="0" dirty="0"/>
          </a:p>
        </p:txBody>
      </p:sp>
      <p:sp>
        <p:nvSpPr>
          <p:cNvPr id="32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7192800" y="2059200"/>
            <a:ext cx="2458800" cy="1659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rgbClr val="FFFFFF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Insert imag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91242613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7433">
          <p15:clr>
            <a:srgbClr val="A4A3A4"/>
          </p15:clr>
        </p15:guide>
        <p15:guide id="2" pos="249">
          <p15:clr>
            <a:srgbClr val="A4A3A4"/>
          </p15:clr>
        </p15:guide>
        <p15:guide id="3" orient="horz" pos="197">
          <p15:clr>
            <a:srgbClr val="A4A3A4"/>
          </p15:clr>
        </p15:guide>
        <p15:guide id="4" orient="horz" pos="2343">
          <p15:clr>
            <a:srgbClr val="A4A3A4"/>
          </p15:clr>
        </p15:guide>
        <p15:guide id="5" orient="horz" pos="4049">
          <p15:clr>
            <a:srgbClr val="A4A3A4"/>
          </p15:clr>
        </p15:guide>
        <p15:guide id="6" orient="horz" pos="2424">
          <p15:clr>
            <a:srgbClr val="A4A3A4"/>
          </p15:clr>
        </p15:guide>
        <p15:guide id="7" orient="horz" pos="3107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amper Vans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rafik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6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100"/>
            <a:ext cx="9396000" cy="1044301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dirty="0" smtClean="0"/>
              <a:t>Presentation title on one line in CorpoA (Headings) 30 pt.</a:t>
            </a:r>
            <a:br>
              <a:rPr lang="en-US" dirty="0" smtClean="0"/>
            </a:br>
            <a:r>
              <a:rPr lang="en-US" noProof="0" dirty="0" smtClean="0"/>
              <a:t>On two lines possible.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362"/>
            <a:ext cx="9396000" cy="755637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 smtClean="0"/>
              <a:t>Additional text for presentation 15 pt </a:t>
            </a:r>
            <a:br>
              <a:rPr lang="en-US" noProof="0" dirty="0" smtClean="0"/>
            </a:br>
            <a:r>
              <a:rPr lang="en-US" noProof="0" dirty="0" smtClean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Reset the slide back to its 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original form via menu bar: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Home // Slides // Reset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99" b="0" baseline="0" noProof="0" dirty="0" smtClean="0">
              <a:solidFill>
                <a:schemeClr val="accent5"/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Change the slide layout 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via menu bar: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Home // Slides // Layout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99" b="0" baseline="0" noProof="0" dirty="0" smtClean="0">
              <a:solidFill>
                <a:schemeClr val="accent5"/>
              </a:solidFill>
              <a:latin typeface="+mn-lt"/>
            </a:endParaRP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Change the text level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via menu bar: </a:t>
            </a:r>
            <a:b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</a:b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Home // Paragraph // Increase/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Alternating between white and black slide layouts via menu bar: </a:t>
            </a:r>
            <a:b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</a:b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Design // Themes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(Right click: </a:t>
            </a:r>
            <a:r>
              <a:rPr lang="en-US" sz="999" b="0" i="1" baseline="0" noProof="0" dirty="0" smtClean="0">
                <a:solidFill>
                  <a:schemeClr val="accent5"/>
                </a:solidFill>
                <a:latin typeface="+mn-lt"/>
              </a:rPr>
              <a:t>Apply to All Slides </a:t>
            </a: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or </a:t>
            </a:r>
            <a:b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</a:br>
            <a:r>
              <a:rPr lang="en-US" sz="999" b="0" i="1" baseline="0" noProof="0" dirty="0" smtClean="0">
                <a:solidFill>
                  <a:schemeClr val="accent5"/>
                </a:solidFill>
                <a:latin typeface="+mn-lt"/>
              </a:rPr>
              <a:t>Apply to Selected Slide</a:t>
            </a: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Increase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Decrease 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Adjust footer (per slide or for several/all slides) via menu bar: Insert // Text // Header &amp; Footer</a:t>
            </a:r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-1331307" y="-430988"/>
            <a:ext cx="1223363" cy="745124"/>
            <a:chOff x="-1331307" y="-430988"/>
            <a:chExt cx="1223363" cy="745124"/>
          </a:xfrm>
        </p:grpSpPr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3"/>
            <p:cNvPicPr>
              <a:picLocks noChangeAspect="1" noChangeArrowheads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6" t="37704" r="2549" b="2753"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96477122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7433">
          <p15:clr>
            <a:srgbClr val="A4A3A4"/>
          </p15:clr>
        </p15:guide>
        <p15:guide id="2" pos="249">
          <p15:clr>
            <a:srgbClr val="A4A3A4"/>
          </p15:clr>
        </p15:guide>
        <p15:guide id="3" orient="horz" pos="197">
          <p15:clr>
            <a:srgbClr val="A4A3A4"/>
          </p15:clr>
        </p15:guide>
        <p15:guide id="4" orient="horz" pos="2343">
          <p15:clr>
            <a:srgbClr val="A4A3A4"/>
          </p15:clr>
        </p15:guide>
        <p15:guide id="5" orient="horz" pos="4049">
          <p15:clr>
            <a:srgbClr val="A4A3A4"/>
          </p15:clr>
        </p15:guide>
        <p15:guide id="6" orient="horz" pos="2424">
          <p15:clr>
            <a:srgbClr val="A4A3A4"/>
          </p15:clr>
        </p15:guide>
        <p15:guide id="7" orient="horz" pos="3107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1511300"/>
            <a:ext cx="11404800" cy="4140000"/>
          </a:xfrm>
        </p:spPr>
        <p:txBody>
          <a:bodyPr numCol="2" spcCol="244765"/>
          <a:lstStyle>
            <a:lvl1pPr marL="431723" indent="-431723">
              <a:buFont typeface="+mj-lt"/>
              <a:buAutoNum type="arabicPeriod"/>
              <a:defRPr baseline="0"/>
            </a:lvl1pPr>
            <a:lvl2pPr marL="863446" indent="-431723">
              <a:buFont typeface="+mj-lt"/>
              <a:buAutoNum type="alphaLcPeriod"/>
              <a:defRPr/>
            </a:lvl2pPr>
            <a:lvl3pPr marL="863446" indent="-431723">
              <a:buFont typeface="+mj-lt"/>
              <a:buAutoNum type="alphaLcPeriod"/>
              <a:defRPr sz="1999"/>
            </a:lvl3pPr>
            <a:lvl4pPr marL="863446" indent="-431723">
              <a:buFont typeface="+mj-lt"/>
              <a:buAutoNum type="alphaLcPeriod"/>
              <a:defRPr sz="1999"/>
            </a:lvl4pPr>
            <a:lvl5pPr marL="863446" indent="-431723">
              <a:buFont typeface="+mj-lt"/>
              <a:buAutoNum type="alphaLcPeriod"/>
              <a:defRPr sz="1999"/>
            </a:lvl5pPr>
            <a:lvl6pPr marL="863446" indent="-431723">
              <a:buFont typeface="+mj-lt"/>
              <a:buAutoNum type="alphaLcPeriod"/>
              <a:defRPr sz="1999"/>
            </a:lvl6pPr>
            <a:lvl7pPr marL="863446" indent="-431723">
              <a:buFont typeface="+mj-lt"/>
              <a:buAutoNum type="alphaLcPeriod"/>
              <a:defRPr sz="1999"/>
            </a:lvl7pPr>
            <a:lvl8pPr marL="863446" indent="-431723">
              <a:buFont typeface="+mj-lt"/>
              <a:buAutoNum type="alphaLcPeriod"/>
              <a:defRPr sz="1999"/>
            </a:lvl8pPr>
            <a:lvl9pPr marL="863446" indent="-431723">
              <a:buFont typeface="+mj-lt"/>
              <a:buAutoNum type="alphaLcPeriod"/>
              <a:defRPr sz="1999"/>
            </a:lvl9pPr>
          </a:lstStyle>
          <a:p>
            <a:pPr lvl="0"/>
            <a:r>
              <a:rPr lang="en-US" noProof="0" dirty="0" smtClean="0"/>
              <a:t>Insert agenda point in CorpoS (Body), 20 pt. // for sub-item: Home // Paragraph// Increase/Decrease List 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7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noProof="0" smtClean="0"/>
              <a:t>Presentation title in CorpoS (Body) 10 pt. | Department | Date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50122400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49" userDrawn="1">
          <p15:clr>
            <a:srgbClr val="A4A3A4"/>
          </p15:clr>
        </p15:guide>
        <p15:guide id="2" pos="7433" userDrawn="1">
          <p15:clr>
            <a:srgbClr val="A4A3A4"/>
          </p15:clr>
        </p15:guide>
        <p15:guide id="3" orient="horz" pos="232" userDrawn="1">
          <p15:clr>
            <a:srgbClr val="A4A3A4"/>
          </p15:clr>
        </p15:guide>
        <p15:guide id="4" orient="horz" pos="953" userDrawn="1">
          <p15:clr>
            <a:srgbClr val="A4A3A4"/>
          </p15:clr>
        </p15:guide>
        <p15:guide id="5" orient="horz" pos="4049" userDrawn="1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6045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1"/>
            <a:ext cx="114048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smtClean="0"/>
              <a:t>CorpoS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smtClean="0"/>
              <a:t>Presentation title in CorpoS (Body) 10 pt. | Department | Date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4732140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32" userDrawn="1">
          <p15:clr>
            <a:srgbClr val="A4A3A4"/>
          </p15:clr>
        </p15:guide>
        <p15:guide id="2" orient="horz" pos="953" userDrawn="1">
          <p15:clr>
            <a:srgbClr val="A4A3A4"/>
          </p15:clr>
        </p15:guide>
        <p15:guide id="3" orient="horz" pos="4049" userDrawn="1">
          <p15:clr>
            <a:srgbClr val="A4A3A4"/>
          </p15:clr>
        </p15:guide>
        <p15:guide id="4" pos="249" userDrawn="1">
          <p15:clr>
            <a:srgbClr val="A4A3A4"/>
          </p15:clr>
        </p15:guide>
        <p15:guide id="5" pos="7433" userDrawn="1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im weißen Satzspieg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de-DE" noProof="0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395288" y="1511301"/>
            <a:ext cx="11406187" cy="4914900"/>
          </a:xfrm>
          <a:solidFill>
            <a:srgbClr val="FFFFFF"/>
          </a:solidFill>
        </p:spPr>
        <p:txBody>
          <a:bodyPr lIns="72000" tIns="72000" rIns="72000" bIns="7200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  <a:lvl6pPr>
              <a:defRPr>
                <a:solidFill>
                  <a:srgbClr val="000000"/>
                </a:solidFill>
              </a:defRPr>
            </a:lvl6pPr>
            <a:lvl7pPr>
              <a:defRPr>
                <a:solidFill>
                  <a:srgbClr val="000000"/>
                </a:solidFill>
              </a:defRPr>
            </a:lvl7pPr>
            <a:lvl8pPr>
              <a:defRPr>
                <a:solidFill>
                  <a:srgbClr val="000000"/>
                </a:solidFill>
              </a:defRPr>
            </a:lvl8pPr>
            <a:lvl9pPr>
              <a:defRPr>
                <a:solidFill>
                  <a:srgbClr val="000000"/>
                </a:solidFill>
              </a:defRPr>
            </a:lvl9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smtClean="0"/>
              <a:t>CorpoS (Body), 20 pt. </a:t>
            </a:r>
            <a:r>
              <a:rPr lang="en-US" dirty="0" smtClean="0"/>
              <a:t>// for bullets: Home // Paragraph// In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smtClean="0"/>
              <a:t>Presentation title in CorpoS (Body) 10 pt. | Department | Date</a:t>
            </a:r>
            <a:endParaRPr lang="en-US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5232932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32" userDrawn="1">
          <p15:clr>
            <a:srgbClr val="A4A3A4"/>
          </p15:clr>
        </p15:guide>
        <p15:guide id="2" orient="horz" pos="953" userDrawn="1">
          <p15:clr>
            <a:srgbClr val="A4A3A4"/>
          </p15:clr>
        </p15:guide>
        <p15:guide id="3" orient="horz" pos="4049" userDrawn="1">
          <p15:clr>
            <a:srgbClr val="A4A3A4"/>
          </p15:clr>
        </p15:guide>
        <p15:guide id="4" pos="7433" userDrawn="1">
          <p15:clr>
            <a:srgbClr val="A4A3A4"/>
          </p15:clr>
        </p15:guide>
        <p15:guide id="5" pos="249" userDrawn="1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nsert tabl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6" y="1512001"/>
            <a:ext cx="11405514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 smtClean="0"/>
              <a:t>Table headline in </a:t>
            </a:r>
            <a:r>
              <a:rPr lang="en-US" noProof="0" dirty="0" smtClean="0"/>
              <a:t>CorpoS</a:t>
            </a:r>
            <a:r>
              <a:rPr lang="en-US" dirty="0" smtClean="0"/>
              <a:t> (</a:t>
            </a:r>
            <a:r>
              <a:rPr lang="en-US" noProof="0" dirty="0" smtClean="0"/>
              <a:t>Body</a:t>
            </a:r>
            <a:r>
              <a:rPr lang="en-US" dirty="0" smtClean="0"/>
              <a:t>) in 20 pt. bold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 baseline="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 smtClean="0"/>
              <a:t>Table description  in </a:t>
            </a:r>
            <a:r>
              <a:rPr lang="en-US" noProof="0" dirty="0" smtClean="0"/>
              <a:t>CorpoS</a:t>
            </a:r>
            <a:r>
              <a:rPr lang="en-US" dirty="0" smtClean="0"/>
              <a:t> (</a:t>
            </a:r>
            <a:r>
              <a:rPr lang="en-US" noProof="0" dirty="0" smtClean="0"/>
              <a:t>Body</a:t>
            </a:r>
            <a:r>
              <a:rPr lang="en-US" dirty="0" smtClean="0"/>
              <a:t>) in 15 pt. 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smtClean="0"/>
              <a:t>Presentation title in CorpoS (Body) 10 pt. | Department | Date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D1D1349-391B-44DC-865F-5996B3E40F2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36269338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49" userDrawn="1">
          <p15:clr>
            <a:srgbClr val="A4A3A4"/>
          </p15:clr>
        </p15:guide>
        <p15:guide id="2" pos="7433" userDrawn="1">
          <p15:clr>
            <a:srgbClr val="A4A3A4"/>
          </p15:clr>
        </p15:guide>
        <p15:guide id="3" orient="horz" pos="953" userDrawn="1">
          <p15:clr>
            <a:srgbClr val="A4A3A4"/>
          </p15:clr>
        </p15:guide>
        <p15:guide id="4" orient="horz" pos="4049" userDrawn="1">
          <p15:clr>
            <a:srgbClr val="A4A3A4"/>
          </p15:clr>
        </p15:guide>
        <p15:guide id="5" orient="horz" pos="232" userDrawn="1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 smtClean="0"/>
              <a:t>Description in </a:t>
            </a:r>
            <a:r>
              <a:rPr lang="en-US" noProof="0" dirty="0" smtClean="0"/>
              <a:t>CorpoS</a:t>
            </a:r>
            <a:r>
              <a:rPr lang="en-US" dirty="0" smtClean="0"/>
              <a:t> (</a:t>
            </a:r>
            <a:r>
              <a:rPr lang="en-US" noProof="0" dirty="0" smtClean="0"/>
              <a:t>Body</a:t>
            </a:r>
            <a:r>
              <a:rPr lang="en-US" dirty="0" smtClean="0"/>
              <a:t>) in 15 pt. 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0"/>
            <a:ext cx="11404800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smtClean="0"/>
              <a:t>CorpoS (Body), 20 pt. </a:t>
            </a:r>
            <a:r>
              <a:rPr lang="en-US" dirty="0" smtClean="0"/>
              <a:t>// for bullets: Home // Paragraph// In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smtClean="0"/>
              <a:t>Presentation title in CorpoS (Body) 10 pt. | Department | Date</a:t>
            </a:r>
            <a:endParaRPr lang="en-US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D1D1349-391B-44DC-865F-5996B3E40F2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56995779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49" userDrawn="1">
          <p15:clr>
            <a:srgbClr val="A4A3A4"/>
          </p15:clr>
        </p15:guide>
        <p15:guide id="2" pos="7433" userDrawn="1">
          <p15:clr>
            <a:srgbClr val="A4A3A4"/>
          </p15:clr>
        </p15:guide>
        <p15:guide id="3" orient="horz" pos="232" userDrawn="1">
          <p15:clr>
            <a:srgbClr val="A4A3A4"/>
          </p15:clr>
        </p15:guide>
        <p15:guide id="4" orient="horz" pos="953" userDrawn="1">
          <p15:clr>
            <a:srgbClr val="A4A3A4"/>
          </p15:clr>
        </p15:guide>
        <p15:guide id="5" orient="horz" pos="4049" userDrawn="1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mmercial Vans \\ Multipicture 2">
    <p:bg bwMode="black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Grafik 3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6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2"/>
            <a:ext cx="9396000" cy="1044000"/>
          </a:xfrm>
        </p:spPr>
        <p:txBody>
          <a:bodyPr/>
          <a:lstStyle>
            <a:lvl1pPr>
              <a:lnSpc>
                <a:spcPts val="3997"/>
              </a:lnSpc>
              <a:defRPr sz="2999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 on one line in CorpoA (Headings) 30 pt.</a:t>
            </a:r>
            <a:br>
              <a:rPr lang="en-US" dirty="0" smtClean="0"/>
            </a:br>
            <a:r>
              <a:rPr lang="en-US" noProof="0" dirty="0" smtClean="0"/>
              <a:t>On two lines possible.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081" y="4932363"/>
            <a:ext cx="9396000" cy="755637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 smtClean="0"/>
              <a:t>Additional text for presentation 15 pt </a:t>
            </a:r>
            <a:br>
              <a:rPr lang="en-US" noProof="0" dirty="0" smtClean="0"/>
            </a:br>
            <a:r>
              <a:rPr lang="en-US" noProof="0" dirty="0" smtClean="0"/>
              <a:t>Speaker, department, place, dat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</a:t>
            </a:r>
          </a:p>
        </p:txBody>
      </p:sp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Reset the slide back to its 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original form via menu bar: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Home // Slides // Reset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99" b="0" baseline="0" noProof="0" dirty="0" smtClean="0">
              <a:solidFill>
                <a:schemeClr val="accent5"/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Change the slide layout 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via menu bar: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Home // Slides // Layout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99" b="0" baseline="0" noProof="0" dirty="0" smtClean="0">
              <a:solidFill>
                <a:schemeClr val="accent5"/>
              </a:solidFill>
              <a:latin typeface="+mn-lt"/>
            </a:endParaRP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Change the text level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via menu bar: </a:t>
            </a:r>
            <a:b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</a:b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Home // Paragraph // Increase/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Alternating between white and black slide layouts via menu bar: </a:t>
            </a:r>
            <a:b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</a:b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Design // Themes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(Right click: </a:t>
            </a:r>
            <a:r>
              <a:rPr lang="en-US" sz="999" b="0" i="1" baseline="0" noProof="0" dirty="0" smtClean="0">
                <a:solidFill>
                  <a:schemeClr val="accent5"/>
                </a:solidFill>
                <a:latin typeface="+mn-lt"/>
              </a:rPr>
              <a:t>Apply to All Slides </a:t>
            </a: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or </a:t>
            </a:r>
            <a:b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</a:br>
            <a:r>
              <a:rPr lang="en-US" sz="999" b="0" i="1" baseline="0" noProof="0" dirty="0" smtClean="0">
                <a:solidFill>
                  <a:schemeClr val="accent5"/>
                </a:solidFill>
                <a:latin typeface="+mn-lt"/>
              </a:rPr>
              <a:t>Apply to Selected Slide</a:t>
            </a: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Increase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Decrease 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7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served areas for stamps and icons</a:t>
            </a:r>
          </a:p>
        </p:txBody>
      </p:sp>
      <p:grpSp>
        <p:nvGrpSpPr>
          <p:cNvPr id="27" name="Gruppieren 26"/>
          <p:cNvGrpSpPr/>
          <p:nvPr userDrawn="1"/>
        </p:nvGrpSpPr>
        <p:grpSpPr>
          <a:xfrm>
            <a:off x="-1331307" y="-430988"/>
            <a:ext cx="1223363" cy="745124"/>
            <a:chOff x="-1331307" y="-430988"/>
            <a:chExt cx="1223363" cy="745124"/>
          </a:xfrm>
        </p:grpSpPr>
        <p:pic>
          <p:nvPicPr>
            <p:cNvPr id="28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Picture 3"/>
            <p:cNvPicPr>
              <a:picLocks noChangeAspect="1" noChangeArrowheads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6" t="37704" r="2549" b="2753"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0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Adjust footer (per slide or for several/all slides) via menu bar: Insert // Text // Header &amp; Footer</a:t>
            </a:r>
          </a:p>
        </p:txBody>
      </p:sp>
      <p:sp>
        <p:nvSpPr>
          <p:cNvPr id="33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313201"/>
            <a:ext cx="7107286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rgbClr val="FFFFFF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Insert image</a:t>
            </a:r>
            <a:endParaRPr lang="de-DE" noProof="0" dirty="0"/>
          </a:p>
        </p:txBody>
      </p:sp>
      <p:sp>
        <p:nvSpPr>
          <p:cNvPr id="34" name="Bildplatzhalter 8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7192800" y="313200"/>
            <a:ext cx="2458800" cy="1659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rgbClr val="FFFFFF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Insert image</a:t>
            </a:r>
            <a:endParaRPr lang="de-DE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9734400" y="313200"/>
            <a:ext cx="2458800" cy="1659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rgbClr val="FFFFFF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Insert image</a:t>
            </a:r>
            <a:endParaRPr lang="de-DE" noProof="0" dirty="0"/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734400" y="2059200"/>
            <a:ext cx="2458800" cy="1659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rgbClr val="FFFFFF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Insert image</a:t>
            </a:r>
            <a:endParaRPr lang="de-DE" noProof="0" dirty="0"/>
          </a:p>
        </p:txBody>
      </p:sp>
      <p:sp>
        <p:nvSpPr>
          <p:cNvPr id="37" name="Bildplatzhalter 8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7192800" y="2059200"/>
            <a:ext cx="2458800" cy="1659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rgbClr val="FFFFFF"/>
                </a:solidFill>
              </a:defRPr>
            </a:lvl1pPr>
          </a:lstStyle>
          <a:p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/>
            </a:r>
            <a:br>
              <a:rPr lang="de-DE" noProof="0" dirty="0" smtClean="0"/>
            </a:br>
            <a:r>
              <a:rPr lang="de-DE" noProof="0" dirty="0" smtClean="0"/>
              <a:t>Insert imag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82116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7433">
          <p15:clr>
            <a:srgbClr val="A4A3A4"/>
          </p15:clr>
        </p15:guide>
        <p15:guide id="2" pos="249">
          <p15:clr>
            <a:srgbClr val="A4A3A4"/>
          </p15:clr>
        </p15:guide>
        <p15:guide id="3" orient="horz" pos="197">
          <p15:clr>
            <a:srgbClr val="A4A3A4"/>
          </p15:clr>
        </p15:guide>
        <p15:guide id="4" orient="horz" pos="2343">
          <p15:clr>
            <a:srgbClr val="A4A3A4"/>
          </p15:clr>
        </p15:guide>
        <p15:guide id="5" orient="horz" pos="4049">
          <p15:clr>
            <a:srgbClr val="A4A3A4"/>
          </p15:clr>
        </p15:guide>
        <p15:guide id="6" orient="horz" pos="2424">
          <p15:clr>
            <a:srgbClr val="A4A3A4"/>
          </p15:clr>
        </p15:guide>
        <p15:guide id="7" orient="horz" pos="3107">
          <p15:clr>
            <a:srgbClr val="A4A3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48000" cy="1008360"/>
          </a:xfrm>
        </p:spPr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1"/>
            <a:ext cx="5616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smtClean="0"/>
              <a:t>CorpoS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Presentation title in CorpoS (Body) 10 pt. | Department | Date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smtClean="0"/>
              <a:t>CorpoS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756091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49" userDrawn="1">
          <p15:clr>
            <a:srgbClr val="A4A3A4"/>
          </p15:clr>
        </p15:guide>
        <p15:guide id="2" pos="7433" userDrawn="1">
          <p15:clr>
            <a:srgbClr val="A4A3A4"/>
          </p15:clr>
        </p15:guide>
        <p15:guide id="3" orient="horz" pos="232" userDrawn="1">
          <p15:clr>
            <a:srgbClr val="A4A3A4"/>
          </p15:clr>
        </p15:guide>
        <p15:guide id="4" orient="horz" pos="953" userDrawn="1">
          <p15:clr>
            <a:srgbClr val="A4A3A4"/>
          </p15:clr>
        </p15:guide>
        <p15:guide id="5" orient="horz" pos="4049" userDrawn="1">
          <p15:clr>
            <a:srgbClr val="A4A3A4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1"/>
            <a:ext cx="5580000" cy="49142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1"/>
            <a:ext cx="5580000" cy="4914201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smtClean="0"/>
              <a:t>CorpoS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smtClean="0"/>
              <a:t>Presentation title in CorpoS (Body) 10 pt. | Department | Dat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97417298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953" userDrawn="1">
          <p15:clr>
            <a:srgbClr val="A4A3A4"/>
          </p15:clr>
        </p15:guide>
        <p15:guide id="2" orient="horz" pos="4049" userDrawn="1">
          <p15:clr>
            <a:srgbClr val="A4A3A4"/>
          </p15:clr>
        </p15:guide>
        <p15:guide id="3" orient="horz" pos="232" userDrawn="1">
          <p15:clr>
            <a:srgbClr val="A4A3A4"/>
          </p15:clr>
        </p15:guide>
        <p15:guide id="4" pos="7433" userDrawn="1">
          <p15:clr>
            <a:srgbClr val="A4A3A4"/>
          </p15:clr>
        </p15:guide>
        <p15:guide id="5" pos="249" userDrawn="1">
          <p15:clr>
            <a:srgbClr val="A4A3A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8" y="1511300"/>
            <a:ext cx="55800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8" y="3502801"/>
            <a:ext cx="5580000" cy="2923400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smtClean="0"/>
              <a:t>CorpoS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2" y="3502801"/>
            <a:ext cx="5580000" cy="2923400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smtClean="0"/>
              <a:t>CorpoS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smtClean="0"/>
              <a:t>Presentation title in CorpoS (Body) 10 pt. | Department | Dat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7055583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49" userDrawn="1">
          <p15:clr>
            <a:srgbClr val="A4A3A4"/>
          </p15:clr>
        </p15:guide>
        <p15:guide id="2" pos="7433" userDrawn="1">
          <p15:clr>
            <a:srgbClr val="A4A3A4"/>
          </p15:clr>
        </p15:guide>
        <p15:guide id="3" orient="horz" pos="232" userDrawn="1">
          <p15:clr>
            <a:srgbClr val="A4A3A4"/>
          </p15:clr>
        </p15:guide>
        <p15:guide id="4" orient="horz" pos="953" userDrawn="1">
          <p15:clr>
            <a:srgbClr val="A4A3A4"/>
          </p15:clr>
        </p15:guide>
        <p15:guide id="5" orient="horz" pos="4049" userDrawn="1">
          <p15:clr>
            <a:srgbClr val="A4A3A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11404800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6030980"/>
            <a:ext cx="11398862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noProof="0" smtClean="0"/>
              <a:t>Presentation title in CorpoS (Body) 10 pt. | Department | Date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 smtClean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 smtClean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 smtClean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 smtClean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 smtClean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 smtClean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 smtClean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 smtClean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 smtClean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 smtClean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 smtClean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1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02045184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49" userDrawn="1">
          <p15:clr>
            <a:srgbClr val="A4A3A4"/>
          </p15:clr>
        </p15:guide>
        <p15:guide id="2" pos="7433" userDrawn="1">
          <p15:clr>
            <a:srgbClr val="A4A3A4"/>
          </p15:clr>
        </p15:guide>
        <p15:guide id="3" orient="horz" pos="232" userDrawn="1">
          <p15:clr>
            <a:srgbClr val="A4A3A4"/>
          </p15:clr>
        </p15:guide>
        <p15:guide id="4" orient="horz" pos="953" userDrawn="1">
          <p15:clr>
            <a:srgbClr val="A4A3A4"/>
          </p15:clr>
        </p15:guide>
        <p15:guide id="5" orient="horz" pos="4049" userDrawn="1">
          <p15:clr>
            <a:srgbClr val="A4A3A4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94316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noProof="0" smtClean="0"/>
              <a:t>Presentation title in CorpoS (Body) 10 pt. | Department | Date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99994390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49" userDrawn="1">
          <p15:clr>
            <a:srgbClr val="A4A3A4"/>
          </p15:clr>
        </p15:guide>
        <p15:guide id="2" pos="7433" userDrawn="1">
          <p15:clr>
            <a:srgbClr val="A4A3A4"/>
          </p15:clr>
        </p15:guide>
        <p15:guide id="3" orient="horz" pos="232" userDrawn="1">
          <p15:clr>
            <a:srgbClr val="A4A3A4"/>
          </p15:clr>
        </p15:guide>
        <p15:guide id="4" orient="horz" pos="953" userDrawn="1">
          <p15:clr>
            <a:srgbClr val="A4A3A4"/>
          </p15:clr>
        </p15:guide>
        <p15:guide id="5" orient="horz" pos="4049" userDrawn="1">
          <p15:clr>
            <a:srgbClr val="A4A3A4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0378" y="5252601"/>
            <a:ext cx="1511213" cy="1173600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CorpoS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 </a:t>
            </a:r>
            <a:endParaRPr lang="en-US" noProof="0" dirty="0" smtClean="0"/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5" y="2758401"/>
            <a:ext cx="1511213" cy="1173600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CorpoS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 </a:t>
            </a:r>
            <a:endParaRPr lang="en-US" noProof="0" dirty="0" smtClean="0"/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5" y="1511301"/>
            <a:ext cx="1511213" cy="1173600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CorpoS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 </a:t>
            </a:r>
            <a:endParaRPr lang="en-US" noProof="0" dirty="0" smtClean="0"/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5" y="4005501"/>
            <a:ext cx="1511213" cy="1173600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CorpoS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 </a:t>
            </a:r>
            <a:endParaRPr lang="en-US" noProof="0" dirty="0" smtClean="0"/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3" y="1512000"/>
            <a:ext cx="1511213" cy="1173600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CorpoS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 </a:t>
            </a:r>
            <a:endParaRPr lang="en-US" noProof="0" dirty="0" smtClean="0"/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3" y="2758867"/>
            <a:ext cx="1511213" cy="1173600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CorpoS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 </a:t>
            </a:r>
            <a:endParaRPr lang="en-US" noProof="0" dirty="0" smtClean="0"/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3" y="4005734"/>
            <a:ext cx="1511213" cy="1173600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CorpoS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 </a:t>
            </a:r>
            <a:endParaRPr lang="en-US" noProof="0" dirty="0" smtClean="0"/>
          </a:p>
        </p:txBody>
      </p:sp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3" y="5252601"/>
            <a:ext cx="1511213" cy="1173600"/>
          </a:xfrm>
          <a:solidFill>
            <a:schemeClr val="accent1"/>
          </a:solidFill>
        </p:spPr>
        <p:txBody>
          <a:bodyPr lIns="72000" rIns="72000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CorpoS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 </a:t>
            </a:r>
            <a:endParaRPr lang="en-US" noProof="0" dirty="0" smtClean="0"/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4" y="1512000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CorpoS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4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CorpoS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4" y="4005734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CorpoS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4" y="2758867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CorpoS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68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CorpoS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68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CorpoS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68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CorpoS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68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CorpoS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4" y="15113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4" y="40055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4" y="27584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4" y="52526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1" y="1512000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1" y="4005734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1" y="2758867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1" y="52526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 bwMode="gray">
          <a:xfrm>
            <a:off x="3993925" y="2098800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 bwMode="gray">
          <a:xfrm>
            <a:off x="3993925" y="3345667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 bwMode="gray">
          <a:xfrm flipH="1">
            <a:off x="7715158" y="20981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 bwMode="gray">
          <a:xfrm>
            <a:off x="7715158" y="33452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 bwMode="gray">
          <a:xfrm>
            <a:off x="7715158" y="45923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 bwMode="gray">
          <a:xfrm>
            <a:off x="7711590" y="5839401"/>
            <a:ext cx="482813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 bwMode="gray">
          <a:xfrm>
            <a:off x="3993925" y="5839401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 bwMode="gray">
          <a:xfrm>
            <a:off x="3993925" y="4592534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ußzeilenplatzhalter 2"/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r>
              <a:rPr lang="en-US" smtClean="0"/>
              <a:t>Presentation title in CorpoS (Body) 10 pt. | Department | Date</a:t>
            </a:r>
            <a:endParaRPr lang="en-US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4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43" name="Textplatzhalter 3"/>
          <p:cNvSpPr>
            <a:spLocks noGrp="1"/>
          </p:cNvSpPr>
          <p:nvPr>
            <p:ph type="body" sz="quarter" idx="4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4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78016395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49" userDrawn="1">
          <p15:clr>
            <a:srgbClr val="A4A3A4"/>
          </p15:clr>
        </p15:guide>
        <p15:guide id="2" pos="7433" userDrawn="1">
          <p15:clr>
            <a:srgbClr val="A4A3A4"/>
          </p15:clr>
        </p15:guide>
        <p15:guide id="3" orient="horz" pos="232" userDrawn="1">
          <p15:clr>
            <a:srgbClr val="A4A3A4"/>
          </p15:clr>
        </p15:guide>
        <p15:guide id="4" orient="horz" pos="953" userDrawn="1">
          <p15:clr>
            <a:srgbClr val="A4A3A4"/>
          </p15:clr>
        </p15:guide>
        <p15:guide id="5" orient="horz" pos="4049" userDrawn="1">
          <p15:clr>
            <a:srgbClr val="A4A3A4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2" y="2757600"/>
            <a:ext cx="6148800" cy="2421734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23" name="Textplatzhalter 3"/>
          <p:cNvSpPr>
            <a:spLocks noGrp="1" noChangeAspect="1"/>
          </p:cNvSpPr>
          <p:nvPr>
            <p:ph type="body" sz="quarter" idx="67" hasCustomPrompt="1"/>
          </p:nvPr>
        </p:nvSpPr>
        <p:spPr>
          <a:xfrm rot="9427937">
            <a:off x="2424429" y="5284428"/>
            <a:ext cx="1908943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11" name="Textplatzhalter 3"/>
          <p:cNvSpPr>
            <a:spLocks noGrp="1" noChangeAspect="1"/>
          </p:cNvSpPr>
          <p:nvPr>
            <p:ph type="body" sz="quarter" idx="56" hasCustomPrompt="1"/>
          </p:nvPr>
        </p:nvSpPr>
        <p:spPr>
          <a:xfrm rot="17090839">
            <a:off x="7960224" y="280891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12" name="Textplatzhalter 3"/>
          <p:cNvSpPr>
            <a:spLocks noGrp="1" noChangeAspect="1"/>
          </p:cNvSpPr>
          <p:nvPr>
            <p:ph type="body" sz="quarter" idx="57" hasCustomPrompt="1"/>
          </p:nvPr>
        </p:nvSpPr>
        <p:spPr>
          <a:xfrm rot="18468895">
            <a:off x="6087015" y="2581077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13" name="Textplatzhalter 3"/>
          <p:cNvSpPr>
            <a:spLocks noGrp="1" noChangeAspect="1"/>
          </p:cNvSpPr>
          <p:nvPr>
            <p:ph type="body" sz="quarter" idx="58" hasCustomPrompt="1"/>
          </p:nvPr>
        </p:nvSpPr>
        <p:spPr>
          <a:xfrm rot="11041244">
            <a:off x="2481761" y="3144224"/>
            <a:ext cx="2202979" cy="8024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888" h="109067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995888" y="109067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14" name="Textplatzhalter 3"/>
          <p:cNvSpPr>
            <a:spLocks noGrp="1" noChangeAspect="1"/>
          </p:cNvSpPr>
          <p:nvPr>
            <p:ph type="body" sz="quarter" idx="59" hasCustomPrompt="1"/>
          </p:nvPr>
        </p:nvSpPr>
        <p:spPr>
          <a:xfrm rot="10320000">
            <a:off x="2607142" y="4603313"/>
            <a:ext cx="3265521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15" name="Textplatzhalter 3"/>
          <p:cNvSpPr>
            <a:spLocks noGrp="1" noChangeAspect="1"/>
          </p:cNvSpPr>
          <p:nvPr>
            <p:ph type="body" sz="quarter" idx="60" hasCustomPrompt="1"/>
          </p:nvPr>
        </p:nvSpPr>
        <p:spPr>
          <a:xfrm rot="3540000">
            <a:off x="5858041" y="4897334"/>
            <a:ext cx="1909937" cy="91521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16" name="Textplatzhalter 3"/>
          <p:cNvSpPr>
            <a:spLocks noGrp="1" noChangeAspect="1"/>
          </p:cNvSpPr>
          <p:nvPr>
            <p:ph type="body" sz="quarter" idx="61" hasCustomPrompt="1"/>
          </p:nvPr>
        </p:nvSpPr>
        <p:spPr>
          <a:xfrm rot="12197832">
            <a:off x="2200101" y="2579450"/>
            <a:ext cx="3265521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17" name="Textplatzhalter 3"/>
          <p:cNvSpPr>
            <a:spLocks noGrp="1" noChangeAspect="1"/>
          </p:cNvSpPr>
          <p:nvPr>
            <p:ph type="body" sz="quarter" idx="62" hasCustomPrompt="1"/>
          </p:nvPr>
        </p:nvSpPr>
        <p:spPr>
          <a:xfrm rot="13889278">
            <a:off x="4705918" y="252069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18" name="Textplatzhalter 3"/>
          <p:cNvSpPr>
            <a:spLocks noGrp="1" noChangeAspect="1"/>
          </p:cNvSpPr>
          <p:nvPr>
            <p:ph type="body" sz="quarter" idx="63" hasCustomPrompt="1"/>
          </p:nvPr>
        </p:nvSpPr>
        <p:spPr>
          <a:xfrm rot="17090839" flipH="1" flipV="1">
            <a:off x="4824886" y="538223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19" name="Textplatzhalter 3"/>
          <p:cNvSpPr>
            <a:spLocks noGrp="1" noChangeAspect="1"/>
          </p:cNvSpPr>
          <p:nvPr>
            <p:ph type="body" sz="quarter" idx="64" hasCustomPrompt="1"/>
          </p:nvPr>
        </p:nvSpPr>
        <p:spPr>
          <a:xfrm rot="12243241" flipH="1" flipV="1">
            <a:off x="8582861" y="4580694"/>
            <a:ext cx="1283852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20" name="Textplatzhalter 3"/>
          <p:cNvSpPr>
            <a:spLocks noGrp="1" noChangeAspect="1"/>
          </p:cNvSpPr>
          <p:nvPr>
            <p:ph type="body" sz="quarter" idx="65" hasCustomPrompt="1"/>
          </p:nvPr>
        </p:nvSpPr>
        <p:spPr>
          <a:xfrm rot="10046435" flipH="1" flipV="1">
            <a:off x="8606062" y="3345727"/>
            <a:ext cx="1283852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122" name="Textplatzhalter 3"/>
          <p:cNvSpPr>
            <a:spLocks noGrp="1" noChangeAspect="1"/>
          </p:cNvSpPr>
          <p:nvPr>
            <p:ph type="body" sz="quarter" idx="66" hasCustomPrompt="1"/>
          </p:nvPr>
        </p:nvSpPr>
        <p:spPr>
          <a:xfrm rot="2851924">
            <a:off x="6694401" y="4854488"/>
            <a:ext cx="3267222" cy="7929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     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395794" y="5252601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CorpoS (Body), 15 pt. // for smaller text: Home // Paragraph // Increase List Level</a:t>
            </a:r>
          </a:p>
        </p:txBody>
      </p:sp>
      <p:sp>
        <p:nvSpPr>
          <p:cNvPr id="109" name="Textplatzhalter 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4220828" y="5252601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Text CorpoS, 15 pt. // for smaller text:  Increase List Level</a:t>
            </a:r>
          </a:p>
        </p:txBody>
      </p:sp>
      <p:sp>
        <p:nvSpPr>
          <p:cNvPr id="110" name="Textplatzhalter 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131658" y="5252601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Text CorpoS, 15 pt. // for smaller text:  Increase List Level</a:t>
            </a:r>
          </a:p>
        </p:txBody>
      </p:sp>
      <p:sp>
        <p:nvSpPr>
          <p:cNvPr id="75" name="Textplatzhalter 3"/>
          <p:cNvSpPr>
            <a:spLocks noGrp="1"/>
          </p:cNvSpPr>
          <p:nvPr userDrawn="1">
            <p:ph type="body" sz="quarter" idx="34" hasCustomPrompt="1"/>
          </p:nvPr>
        </p:nvSpPr>
        <p:spPr bwMode="gray">
          <a:xfrm>
            <a:off x="395794" y="1512000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CorpoS (Body), 15 pt. // for smaller text: Home // Paragraph // Increase List Level</a:t>
            </a:r>
          </a:p>
        </p:txBody>
      </p:sp>
      <p:sp>
        <p:nvSpPr>
          <p:cNvPr id="96" name="Textplatzhalt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395794" y="2758867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CorpoS (Body), 15 pt. // for smaller text: Home // Paragraph // Increase List Level</a:t>
            </a:r>
          </a:p>
        </p:txBody>
      </p:sp>
      <p:sp>
        <p:nvSpPr>
          <p:cNvPr id="97" name="Textplatzhalt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395794" y="4005735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CorpoS (Body), 15 pt. // for smaller text: Home // Paragraph // Increase List Level</a:t>
            </a:r>
          </a:p>
        </p:txBody>
      </p:sp>
      <p:sp>
        <p:nvSpPr>
          <p:cNvPr id="93" name="Textplatzhalter 3"/>
          <p:cNvSpPr>
            <a:spLocks noGrp="1"/>
          </p:cNvSpPr>
          <p:nvPr userDrawn="1">
            <p:ph type="body" sz="quarter" idx="45" hasCustomPrompt="1"/>
          </p:nvPr>
        </p:nvSpPr>
        <p:spPr bwMode="gray">
          <a:xfrm>
            <a:off x="8042485" y="1512000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CorpoS (Body), 15 pt. // for smaller text: Home // Paragraph // Increase List Level</a:t>
            </a:r>
          </a:p>
        </p:txBody>
      </p:sp>
      <p:sp>
        <p:nvSpPr>
          <p:cNvPr id="98" name="Textplatzhalter 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9240661" y="2758867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CorpoS (Body), 15 pt. // for smaller text: Home // Paragraph // Increase List Level</a:t>
            </a:r>
          </a:p>
        </p:txBody>
      </p:sp>
      <p:sp>
        <p:nvSpPr>
          <p:cNvPr id="99" name="Textplatzhalter 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9240661" y="4005735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CorpoS (Body), 15 pt. // for smaller text: Home // Paragraph // Increase List Level</a:t>
            </a:r>
          </a:p>
        </p:txBody>
      </p:sp>
      <p:sp>
        <p:nvSpPr>
          <p:cNvPr id="95" name="Textplatzhalt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131658" y="1512000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Text CorpoS, 15 pt. // for smaller text:  Increase List Level</a:t>
            </a:r>
          </a:p>
        </p:txBody>
      </p:sp>
      <p:sp>
        <p:nvSpPr>
          <p:cNvPr id="100" name="Textplatzhalter 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8042485" y="5252601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CorpoS (Body), 15 pt. // for smaller text: Home // Paragraph // Increase List Level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220828" y="1512000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Text CorpoS, 15 pt. // for smaller text:  Increase List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68"/>
          </p:nvPr>
        </p:nvSpPr>
        <p:spPr/>
        <p:txBody>
          <a:bodyPr/>
          <a:lstStyle/>
          <a:p>
            <a:r>
              <a:rPr lang="en-US" noProof="0" smtClean="0"/>
              <a:t>Presentation title in CorpoS (Body) 10 pt. | Department | Date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6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3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2296240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0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500"/>
                            </p:stCondLst>
                            <p:childTnLst>
                              <p:par>
                                <p:cTn id="10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1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7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8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0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6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7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3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5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4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 mod="1">
    <p:ext uri="{DCECCB84-F9BA-43D5-87BE-67443E8EF086}">
      <p15:sldGuideLst xmlns:p15="http://schemas.microsoft.com/office/powerpoint/2012/main" xmlns="">
        <p15:guide id="1" pos="249" userDrawn="1">
          <p15:clr>
            <a:srgbClr val="A4A3A4"/>
          </p15:clr>
        </p15:guide>
        <p15:guide id="2" pos="7433" userDrawn="1">
          <p15:clr>
            <a:srgbClr val="A4A3A4"/>
          </p15:clr>
        </p15:guide>
        <p15:guide id="3" orient="horz" pos="232" userDrawn="1">
          <p15:clr>
            <a:srgbClr val="A4A3A4"/>
          </p15:clr>
        </p15:guide>
        <p15:guide id="4" orient="horz" pos="953" userDrawn="1">
          <p15:clr>
            <a:srgbClr val="A4A3A4"/>
          </p15:clr>
        </p15:guide>
        <p15:guide id="5" orient="horz" pos="4049" userDrawn="1">
          <p15:clr>
            <a:srgbClr val="A4A3A4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4" y="3851886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</a:t>
            </a:r>
            <a:r>
              <a:rPr lang="en-US" dirty="0" smtClean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4" y="3383769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</a:t>
            </a:r>
            <a:r>
              <a:rPr lang="en-US" dirty="0" smtClean="0"/>
              <a:t>20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4" y="151130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</a:t>
            </a:r>
            <a:r>
              <a:rPr lang="en-US" dirty="0" smtClean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4" y="198000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</a:t>
            </a:r>
            <a:r>
              <a:rPr lang="en-US" dirty="0" smtClean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4" y="291565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</a:t>
            </a:r>
            <a:r>
              <a:rPr lang="en-US" dirty="0" smtClean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4" y="4320000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</a:t>
            </a:r>
            <a:r>
              <a:rPr lang="en-US" dirty="0" smtClean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4" y="2447534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</a:t>
            </a:r>
            <a:r>
              <a:rPr lang="en-US" dirty="0" smtClean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2" y="1511300"/>
            <a:ext cx="7578000" cy="3204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 smtClean="0"/>
              <a:t>Presentation title in CorpoS (Body) 10 pt. | Department | Dat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45866436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49" userDrawn="1">
          <p15:clr>
            <a:srgbClr val="A4A3A4"/>
          </p15:clr>
        </p15:guide>
        <p15:guide id="2" pos="7433" userDrawn="1">
          <p15:clr>
            <a:srgbClr val="A4A3A4"/>
          </p15:clr>
        </p15:guide>
        <p15:guide id="3" orient="horz" pos="232" userDrawn="1">
          <p15:clr>
            <a:srgbClr val="A4A3A4"/>
          </p15:clr>
        </p15:guide>
        <p15:guide id="4" orient="horz" pos="953" userDrawn="1">
          <p15:clr>
            <a:srgbClr val="A4A3A4"/>
          </p15:clr>
        </p15:guide>
        <p15:guide id="5" orient="horz" pos="4049" userDrawn="1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1944000"/>
          </a:xfrm>
          <a:solidFill>
            <a:srgbClr val="9F0002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7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rgbClr val="9F0002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3501248"/>
            <a:ext cx="3752845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1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7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noProof="0" smtClean="0"/>
              <a:t>Presentation title in CorpoS (Body) 10 pt. | Department | Date</a:t>
            </a:r>
            <a:endParaRPr lang="en-US" noProof="0" dirty="0"/>
          </a:p>
        </p:txBody>
      </p:sp>
      <p:sp>
        <p:nvSpPr>
          <p:cNvPr id="27" name="Foliennummernplatzhalter 2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9563538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49" userDrawn="1">
          <p15:clr>
            <a:srgbClr val="A4A3A4"/>
          </p15:clr>
        </p15:guide>
        <p15:guide id="2" pos="7433" userDrawn="1">
          <p15:clr>
            <a:srgbClr val="A4A3A4"/>
          </p15:clr>
        </p15:guide>
        <p15:guide id="3" orient="horz" pos="232" userDrawn="1">
          <p15:clr>
            <a:srgbClr val="A4A3A4"/>
          </p15:clr>
        </p15:guide>
        <p15:guide id="4" orient="horz" pos="953" userDrawn="1">
          <p15:clr>
            <a:srgbClr val="A4A3A4"/>
          </p15:clr>
        </p15:guide>
        <p15:guide id="5" orient="horz" pos="4049" userDrawn="1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 noProof="0" smtClean="0"/>
              <a:t>Presentation title in CorpoS (Body) 10 pt. | Department | Date</a:t>
            </a:r>
            <a:endParaRPr lang="en-US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30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4948590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49" userDrawn="1">
          <p15:clr>
            <a:srgbClr val="A4A3A4"/>
          </p15:clr>
        </p15:guide>
        <p15:guide id="2" pos="7433" userDrawn="1">
          <p15:clr>
            <a:srgbClr val="A4A3A4"/>
          </p15:clr>
        </p15:guide>
        <p15:guide id="3" orient="horz" pos="232" userDrawn="1">
          <p15:clr>
            <a:srgbClr val="A4A3A4"/>
          </p15:clr>
        </p15:guide>
        <p15:guide id="4" orient="horz" pos="953" userDrawn="1">
          <p15:clr>
            <a:srgbClr val="A4A3A4"/>
          </p15:clr>
        </p15:guide>
        <p15:guide id="5" orient="horz" pos="4049" userDrawn="1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amper Vans">
    <p:bg bwMode="black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Grafik 3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6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2"/>
            <a:ext cx="9396000" cy="1044000"/>
          </a:xfrm>
        </p:spPr>
        <p:txBody>
          <a:bodyPr/>
          <a:lstStyle>
            <a:lvl1pPr>
              <a:lnSpc>
                <a:spcPts val="3997"/>
              </a:lnSpc>
              <a:defRPr sz="2999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Presentation title on one line in CorpoA (Headings) 30 pt.</a:t>
            </a:r>
            <a:br>
              <a:rPr lang="en-US" dirty="0" smtClean="0"/>
            </a:br>
            <a:r>
              <a:rPr lang="en-US" noProof="0" dirty="0" smtClean="0"/>
              <a:t>On two lines possible.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081" y="4932363"/>
            <a:ext cx="9396000" cy="755637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 smtClean="0"/>
              <a:t>Additional text for presentation 15 pt </a:t>
            </a:r>
            <a:br>
              <a:rPr lang="en-US" noProof="0" dirty="0" smtClean="0"/>
            </a:br>
            <a:r>
              <a:rPr lang="en-US" noProof="0" dirty="0" smtClean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27" y="314136"/>
            <a:ext cx="12191874" cy="340537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</a:t>
            </a:r>
          </a:p>
        </p:txBody>
      </p:sp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Reset the slide back to its 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original form via menu bar: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Home // Slides // Reset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99" b="0" baseline="0" noProof="0" dirty="0" smtClean="0">
              <a:solidFill>
                <a:schemeClr val="accent5"/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Change the slide layout 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via menu bar: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Home // Slides // Layout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99" b="0" baseline="0" noProof="0" dirty="0" smtClean="0">
              <a:solidFill>
                <a:schemeClr val="accent5"/>
              </a:solidFill>
              <a:latin typeface="+mn-lt"/>
            </a:endParaRP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Change the text level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via menu bar: </a:t>
            </a:r>
            <a:b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</a:b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Home // Paragraph // Increase/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Alternating between white and black slide layouts via menu bar: </a:t>
            </a:r>
            <a:b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</a:b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Design // Themes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(Right click: </a:t>
            </a:r>
            <a:r>
              <a:rPr lang="en-US" sz="999" b="0" i="1" baseline="0" noProof="0" dirty="0" smtClean="0">
                <a:solidFill>
                  <a:schemeClr val="accent5"/>
                </a:solidFill>
                <a:latin typeface="+mn-lt"/>
              </a:rPr>
              <a:t>Apply to All Slides </a:t>
            </a: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or </a:t>
            </a:r>
            <a:b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</a:br>
            <a:r>
              <a:rPr lang="en-US" sz="999" b="0" i="1" baseline="0" noProof="0" dirty="0" smtClean="0">
                <a:solidFill>
                  <a:schemeClr val="accent5"/>
                </a:solidFill>
                <a:latin typeface="+mn-lt"/>
              </a:rPr>
              <a:t>Apply to Selected Slide</a:t>
            </a: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Increase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Decrease 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7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served areas for stamps and icons</a:t>
            </a:r>
          </a:p>
        </p:txBody>
      </p:sp>
      <p:grpSp>
        <p:nvGrpSpPr>
          <p:cNvPr id="27" name="Gruppieren 26"/>
          <p:cNvGrpSpPr/>
          <p:nvPr userDrawn="1"/>
        </p:nvGrpSpPr>
        <p:grpSpPr>
          <a:xfrm>
            <a:off x="-1331307" y="-430988"/>
            <a:ext cx="1223363" cy="745124"/>
            <a:chOff x="-1331307" y="-430988"/>
            <a:chExt cx="1223363" cy="745124"/>
          </a:xfrm>
        </p:grpSpPr>
        <p:pic>
          <p:nvPicPr>
            <p:cNvPr id="28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Picture 3"/>
            <p:cNvPicPr>
              <a:picLocks noChangeAspect="1" noChangeArrowheads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6" t="37704" r="2549" b="2753"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0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 smtClean="0">
                <a:solidFill>
                  <a:schemeClr val="accent5"/>
                </a:solidFill>
                <a:latin typeface="+mn-lt"/>
              </a:rPr>
              <a:t>Adjust footer (per slide or for several/all slides) via menu bar: Insert // Text //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4445094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7433">
          <p15:clr>
            <a:srgbClr val="A4A3A4"/>
          </p15:clr>
        </p15:guide>
        <p15:guide id="2" pos="249">
          <p15:clr>
            <a:srgbClr val="A4A3A4"/>
          </p15:clr>
        </p15:guide>
        <p15:guide id="3" orient="horz" pos="197">
          <p15:clr>
            <a:srgbClr val="A4A3A4"/>
          </p15:clr>
        </p15:guide>
        <p15:guide id="4" orient="horz" pos="2343">
          <p15:clr>
            <a:srgbClr val="A4A3A4"/>
          </p15:clr>
        </p15:guide>
        <p15:guide id="5" orient="horz" pos="4049">
          <p15:clr>
            <a:srgbClr val="A4A3A4"/>
          </p15:clr>
        </p15:guide>
        <p15:guide id="6" orient="horz" pos="2424">
          <p15:clr>
            <a:srgbClr val="A4A3A4"/>
          </p15:clr>
        </p15:guide>
        <p15:guide id="7" orient="horz" pos="3107">
          <p15:clr>
            <a:srgbClr val="A4A3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2" y="1511300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2" y="4043527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2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2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noProof="0" smtClean="0"/>
              <a:t>Presentation title in CorpoS (Body) 10 pt. | Department | Date</a:t>
            </a:r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8125110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49" userDrawn="1">
          <p15:clr>
            <a:srgbClr val="A4A3A4"/>
          </p15:clr>
        </p15:guide>
        <p15:guide id="2" pos="7433" userDrawn="1">
          <p15:clr>
            <a:srgbClr val="A4A3A4"/>
          </p15:clr>
        </p15:guide>
        <p15:guide id="3" orient="horz" pos="232" userDrawn="1">
          <p15:clr>
            <a:srgbClr val="A4A3A4"/>
          </p15:clr>
        </p15:guide>
        <p15:guide id="4" orient="horz" pos="953" userDrawn="1">
          <p15:clr>
            <a:srgbClr val="A4A3A4"/>
          </p15:clr>
        </p15:guide>
        <p15:guide id="5" orient="horz" pos="4049" userDrawn="1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4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6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CorpoS 15 pt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noProof="0" smtClean="0"/>
              <a:t>Presentation title in CorpoS (Body) 10 pt. | Department | Date</a:t>
            </a:r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31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32" name="Textplatzhalter 3"/>
          <p:cNvSpPr>
            <a:spLocks noGrp="1"/>
          </p:cNvSpPr>
          <p:nvPr>
            <p:ph type="body" sz="quarter" idx="40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04409204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49" userDrawn="1">
          <p15:clr>
            <a:srgbClr val="A4A3A4"/>
          </p15:clr>
        </p15:guide>
        <p15:guide id="2" pos="7433" userDrawn="1">
          <p15:clr>
            <a:srgbClr val="A4A3A4"/>
          </p15:clr>
        </p15:guide>
        <p15:guide id="3" orient="horz" pos="232" userDrawn="1">
          <p15:clr>
            <a:srgbClr val="A4A3A4"/>
          </p15:clr>
        </p15:guide>
        <p15:guide id="4" orient="horz" pos="953" userDrawn="1">
          <p15:clr>
            <a:srgbClr val="A4A3A4"/>
          </p15:clr>
        </p15:guide>
        <p15:guide id="5" orient="horz" pos="4049" userDrawn="1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7"/>
              </a:spcAft>
            </a:pPr>
            <a:endParaRPr lang="de-DE" sz="1999" dirty="0" smtClean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 smtClean="0"/>
              <a:t>Insert text in CorpoS (Body), 20 pt. // for bullets: Home // Paragraph// Increase List 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rgbClr val="9F0002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29"/>
            <a:ext cx="3754800" cy="1910916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448674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78"/>
            <a:ext cx="3752845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69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69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noProof="0" smtClean="0"/>
              <a:t>Presentation title in CorpoS (Body) 10 pt. | Department | Date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43634342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49" userDrawn="1">
          <p15:clr>
            <a:srgbClr val="A4A3A4"/>
          </p15:clr>
        </p15:guide>
        <p15:guide id="2" pos="7433" userDrawn="1">
          <p15:clr>
            <a:srgbClr val="A4A3A4"/>
          </p15:clr>
        </p15:guide>
        <p15:guide id="3" orient="horz" pos="232" userDrawn="1">
          <p15:clr>
            <a:srgbClr val="A4A3A4"/>
          </p15:clr>
        </p15:guide>
        <p15:guide id="4" orient="horz" pos="953" userDrawn="1">
          <p15:clr>
            <a:srgbClr val="A4A3A4"/>
          </p15:clr>
        </p15:guide>
        <p15:guide id="5" orient="horz" pos="4049" userDrawn="1">
          <p15:clr>
            <a:srgbClr val="A4A3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7"/>
              </a:spcAft>
            </a:pPr>
            <a:endParaRPr lang="de-DE" sz="1999" dirty="0" smtClean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 smtClean="0"/>
              <a:t>Insert text in CorpoS (Body), 20 pt. // for bullets: Home // Paragraph// Increase List 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3495678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78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6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68"/>
            <a:ext cx="37548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noProof="0" smtClean="0"/>
              <a:t>Presentation title in CorpoS (Body) 10 pt. | Department | Date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6412354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953" userDrawn="1">
          <p15:clr>
            <a:srgbClr val="A4A3A4"/>
          </p15:clr>
        </p15:guide>
        <p15:guide id="2" orient="horz" pos="4049" userDrawn="1">
          <p15:clr>
            <a:srgbClr val="A4A3A4"/>
          </p15:clr>
        </p15:guide>
        <p15:guide id="3" orient="horz" pos="232" userDrawn="1">
          <p15:clr>
            <a:srgbClr val="A4A3A4"/>
          </p15:clr>
        </p15:guide>
        <p15:guide id="4" pos="7433" userDrawn="1">
          <p15:clr>
            <a:srgbClr val="A4A3A4"/>
          </p15:clr>
        </p15:guide>
        <p15:guide id="5" pos="249" userDrawn="1">
          <p15:clr>
            <a:srgbClr val="A4A3A4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 with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4526573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20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395795" y="1786681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20 pt.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395795" y="462604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20 pt.</a:t>
            </a:r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395795" y="3206363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20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5795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20 pt.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4526573" y="6043658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20 pt.</a:t>
            </a:r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395795" y="6045725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20 pt.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8846408" y="178616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20 pt.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8846408" y="462449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8846408" y="320532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20 pt.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8846408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20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8846408" y="6043658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CorpoS, 20 pt.</a:t>
            </a:r>
          </a:p>
        </p:txBody>
      </p:sp>
      <p:cxnSp>
        <p:nvCxnSpPr>
          <p:cNvPr id="47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7497870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7433" userDrawn="1">
          <p15:clr>
            <a:srgbClr val="A4A3A4"/>
          </p15:clr>
        </p15:guide>
        <p15:guide id="2" pos="249" userDrawn="1">
          <p15:clr>
            <a:srgbClr val="A4A3A4"/>
          </p15:clr>
        </p15:guide>
        <p15:guide id="4" orient="horz" pos="4049" userDrawn="1">
          <p15:clr>
            <a:srgbClr val="A4A3A4"/>
          </p15:clr>
        </p15:guide>
        <p15:guide id="5" orient="horz" pos="232" userDrawn="1">
          <p15:clr>
            <a:srgbClr val="A4A3A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2" cy="6858824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0"/>
            <a:ext cx="2994158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2" y="1155600"/>
            <a:ext cx="2994158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2" y="4619700"/>
            <a:ext cx="29939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5508000" cy="1008360"/>
          </a:xfrm>
        </p:spPr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95082" y="1512001"/>
            <a:ext cx="5508000" cy="2949301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smtClean="0"/>
              <a:t>CorpoS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5115013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49" userDrawn="1">
          <p15:clr>
            <a:srgbClr val="A4A3A4"/>
          </p15:clr>
        </p15:guide>
        <p15:guide id="2" pos="7433" userDrawn="1">
          <p15:clr>
            <a:srgbClr val="A4A3A4"/>
          </p15:clr>
        </p15:guide>
        <p15:guide id="3" orient="horz" pos="953" userDrawn="1">
          <p15:clr>
            <a:srgbClr val="A4A3A4"/>
          </p15:clr>
        </p15:guide>
        <p15:guide id="4" orient="horz" pos="4049" userDrawn="1">
          <p15:clr>
            <a:srgbClr val="A4A3A4"/>
          </p15:clr>
        </p15:guide>
        <p15:guide id="5" orient="horz" pos="232" userDrawn="1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1"/>
            <a:ext cx="6062400" cy="4547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0"/>
            <a:ext cx="60624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1"/>
            <a:ext cx="2993642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5774400"/>
            <a:ext cx="2994158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2" y="2309400"/>
            <a:ext cx="2994158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2" y="0"/>
            <a:ext cx="2994158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38931877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49" userDrawn="1">
          <p15:clr>
            <a:srgbClr val="A4A3A4"/>
          </p15:clr>
        </p15:guide>
        <p15:guide id="2" pos="7433" userDrawn="1">
          <p15:clr>
            <a:srgbClr val="A4A3A4"/>
          </p15:clr>
        </p15:guide>
        <p15:guide id="3" orient="horz" pos="232" userDrawn="1">
          <p15:clr>
            <a:srgbClr val="A4A3A4"/>
          </p15:clr>
        </p15:guide>
        <p15:guide id="5" orient="horz" pos="4049" userDrawn="1">
          <p15:clr>
            <a:srgbClr val="A4A3A4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/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2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57" y="5774400"/>
            <a:ext cx="2993383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57" y="2309400"/>
            <a:ext cx="2993383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0"/>
            <a:ext cx="29952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0"/>
            <a:ext cx="2993640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0"/>
            <a:ext cx="299364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5278027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49" userDrawn="1">
          <p15:clr>
            <a:srgbClr val="A4A3A4"/>
          </p15:clr>
        </p15:guide>
        <p15:guide id="2" pos="7433" userDrawn="1">
          <p15:clr>
            <a:srgbClr val="A4A3A4"/>
          </p15:clr>
        </p15:guide>
        <p15:guide id="3" orient="horz" pos="232" userDrawn="1">
          <p15:clr>
            <a:srgbClr val="A4A3A4"/>
          </p15:clr>
        </p15:guide>
        <p15:guide id="4" orient="horz" pos="4049" userDrawn="1">
          <p15:clr>
            <a:srgbClr val="A4A3A4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395083" y="368300"/>
            <a:ext cx="11404800" cy="540000"/>
          </a:xfrm>
        </p:spPr>
        <p:txBody>
          <a:bodyPr/>
          <a:lstStyle>
            <a:lvl1pPr>
              <a:defRPr sz="2999" baseline="0"/>
            </a:lvl1pPr>
          </a:lstStyle>
          <a:p>
            <a:r>
              <a:rPr lang="en-US" noProof="0" dirty="0" smtClean="0"/>
              <a:t>Optional headline on one line in CorpoA (Headings) 30 pt. </a:t>
            </a:r>
            <a:endParaRPr lang="en-US" noProof="0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3342556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32" userDrawn="1">
          <p15:clr>
            <a:srgbClr val="A4A3A4"/>
          </p15:clr>
        </p15:guide>
        <p15:guide id="3" orient="horz" pos="4049" userDrawn="1">
          <p15:clr>
            <a:srgbClr val="A4A3A4"/>
          </p15:clr>
        </p15:guide>
        <p15:guide id="4" pos="249" userDrawn="1">
          <p15:clr>
            <a:srgbClr val="A4A3A4"/>
          </p15:clr>
        </p15:guide>
        <p15:guide id="5" pos="7433" userDrawn="1">
          <p15:clr>
            <a:srgbClr val="A4A3A4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en-US" sz="1999" dirty="0" smtClean="0">
              <a:solidFill>
                <a:prstClr val="black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noProof="0" dirty="0" smtClean="0"/>
              <a:t>Presentation title 30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on one line.</a:t>
            </a:r>
            <a:br>
              <a:rPr lang="en-US" noProof="0" dirty="0" smtClean="0"/>
            </a:br>
            <a:r>
              <a:rPr lang="en-US" noProof="0" dirty="0" smtClean="0"/>
              <a:t>On two lines possible.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 smtClean="0"/>
              <a:t>Additional text for presentation 1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</a:t>
            </a:r>
            <a:br>
              <a:rPr lang="en-US" noProof="0" dirty="0" smtClean="0"/>
            </a:br>
            <a:r>
              <a:rPr lang="en-US" noProof="0" dirty="0" smtClean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pic>
        <p:nvPicPr>
          <p:cNvPr id="12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7" y="-430988"/>
            <a:ext cx="1221702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Reset the slide back to its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original form via menu bar: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Home // Slides // Reset</a:t>
            </a:r>
          </a:p>
          <a:p>
            <a:pPr algn="r"/>
            <a:endParaRPr lang="en-US" sz="999" dirty="0" smtClean="0">
              <a:solidFill>
                <a:srgbClr val="333333"/>
              </a:solidFill>
            </a:endParaRP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Change the slide layout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 smtClean="0">
              <a:solidFill>
                <a:srgbClr val="333333"/>
              </a:solidFill>
            </a:endParaRP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Design // Themes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(Right click: </a:t>
            </a:r>
            <a:r>
              <a:rPr lang="en-US" sz="999" i="1" dirty="0" smtClean="0">
                <a:solidFill>
                  <a:srgbClr val="333333"/>
                </a:solidFill>
              </a:rPr>
              <a:t>Apply to All Slides </a:t>
            </a:r>
            <a:r>
              <a:rPr lang="en-US" sz="999" dirty="0" smtClean="0">
                <a:solidFill>
                  <a:srgbClr val="333333"/>
                </a:solidFill>
              </a:rPr>
              <a:t>or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i="1" dirty="0" smtClean="0">
                <a:solidFill>
                  <a:srgbClr val="333333"/>
                </a:solidFill>
              </a:rPr>
              <a:t>Apply to Selected Slide</a:t>
            </a:r>
            <a:r>
              <a:rPr lang="en-US" sz="999" dirty="0" smtClean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Adjust footer (per slide or for several/all slides) via menu bar: Insert // Text //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3340197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Presentation title in CorpoS (Body) 10 pt. | Department | Date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1511300"/>
            <a:ext cx="11404800" cy="4140000"/>
          </a:xfrm>
        </p:spPr>
        <p:txBody>
          <a:bodyPr numCol="2" spcCol="244765"/>
          <a:lstStyle>
            <a:lvl1pPr marL="431723" indent="-431723">
              <a:buFont typeface="+mj-lt"/>
              <a:buAutoNum type="arabicPeriod"/>
              <a:defRPr baseline="0"/>
            </a:lvl1pPr>
            <a:lvl2pPr marL="863446" indent="-431723">
              <a:buFont typeface="+mj-lt"/>
              <a:buAutoNum type="alphaLcPeriod"/>
              <a:defRPr/>
            </a:lvl2pPr>
            <a:lvl3pPr marL="863446" indent="-431723">
              <a:buFont typeface="+mj-lt"/>
              <a:buAutoNum type="alphaLcPeriod"/>
              <a:defRPr sz="1999"/>
            </a:lvl3pPr>
            <a:lvl4pPr marL="863446" indent="-431723">
              <a:buFont typeface="+mj-lt"/>
              <a:buAutoNum type="alphaLcPeriod"/>
              <a:defRPr sz="1999"/>
            </a:lvl4pPr>
            <a:lvl5pPr marL="863446" indent="-431723">
              <a:buFont typeface="+mj-lt"/>
              <a:buAutoNum type="alphaLcPeriod"/>
              <a:defRPr sz="1999"/>
            </a:lvl5pPr>
            <a:lvl6pPr marL="863446" indent="-431723">
              <a:buFont typeface="+mj-lt"/>
              <a:buAutoNum type="alphaLcPeriod"/>
              <a:defRPr sz="1999"/>
            </a:lvl6pPr>
            <a:lvl7pPr marL="863446" indent="-431723">
              <a:buFont typeface="+mj-lt"/>
              <a:buAutoNum type="alphaLcPeriod"/>
              <a:defRPr sz="1999"/>
            </a:lvl7pPr>
            <a:lvl8pPr marL="863446" indent="-431723">
              <a:buFont typeface="+mj-lt"/>
              <a:buAutoNum type="alphaLcPeriod"/>
              <a:defRPr sz="1999"/>
            </a:lvl8pPr>
            <a:lvl9pPr marL="863446" indent="-431723">
              <a:buFont typeface="+mj-lt"/>
              <a:buAutoNum type="alphaLcPeriod"/>
              <a:defRPr sz="1999"/>
            </a:lvl9pPr>
          </a:lstStyle>
          <a:p>
            <a:pPr lvl="0"/>
            <a:r>
              <a:rPr lang="en-US" noProof="0" dirty="0" smtClean="0"/>
              <a:t>Insert agenda point in CorpoS (Body), 20 pt. // for sub-item: Home // Paragraph// Increase/Decrease List 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7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46679384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7433" userDrawn="1">
          <p15:clr>
            <a:srgbClr val="A4A3A4"/>
          </p15:clr>
        </p15:guide>
        <p15:guide id="2" orient="horz" pos="232" userDrawn="1">
          <p15:clr>
            <a:srgbClr val="A4A3A4"/>
          </p15:clr>
        </p15:guide>
        <p15:guide id="3" orient="horz" pos="953" userDrawn="1">
          <p15:clr>
            <a:srgbClr val="A4A3A4"/>
          </p15:clr>
        </p15:guide>
        <p15:guide id="4" pos="249" userDrawn="1">
          <p15:clr>
            <a:srgbClr val="A4A3A4"/>
          </p15:clr>
        </p15:guide>
        <p15:guide id="5" orient="horz" pos="4049" userDrawn="1">
          <p15:clr>
            <a:srgbClr val="A4A3A4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en-US" sz="1999" dirty="0" smtClean="0">
              <a:solidFill>
                <a:prstClr val="black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6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noProof="0" dirty="0" smtClean="0"/>
              <a:t>Presentation title 30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on one line.</a:t>
            </a:r>
            <a:br>
              <a:rPr lang="en-US" noProof="0" dirty="0" smtClean="0"/>
            </a:br>
            <a:r>
              <a:rPr lang="en-US" noProof="0" dirty="0" smtClean="0"/>
              <a:t>On two lines possible.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 smtClean="0"/>
              <a:t>Additional text for presentation 1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</a:t>
            </a:r>
            <a:br>
              <a:rPr lang="en-US" noProof="0" dirty="0" smtClean="0"/>
            </a:br>
            <a:r>
              <a:rPr lang="en-US" noProof="0" dirty="0" smtClean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pic>
        <p:nvPicPr>
          <p:cNvPr id="12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7" y="-430988"/>
            <a:ext cx="1221702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Reset the slide back to its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original form via menu bar: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Home // Slides // Reset</a:t>
            </a:r>
          </a:p>
          <a:p>
            <a:pPr algn="r"/>
            <a:endParaRPr lang="en-US" sz="999" dirty="0" smtClean="0">
              <a:solidFill>
                <a:srgbClr val="333333"/>
              </a:solidFill>
            </a:endParaRP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Change the slide layout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 smtClean="0">
              <a:solidFill>
                <a:srgbClr val="333333"/>
              </a:solidFill>
            </a:endParaRP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Design // Themes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(Right click: </a:t>
            </a:r>
            <a:r>
              <a:rPr lang="en-US" sz="999" i="1" dirty="0" smtClean="0">
                <a:solidFill>
                  <a:srgbClr val="333333"/>
                </a:solidFill>
              </a:rPr>
              <a:t>Apply to All Slides </a:t>
            </a:r>
            <a:r>
              <a:rPr lang="en-US" sz="999" dirty="0" smtClean="0">
                <a:solidFill>
                  <a:srgbClr val="333333"/>
                </a:solidFill>
              </a:rPr>
              <a:t>or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i="1" dirty="0" smtClean="0">
                <a:solidFill>
                  <a:srgbClr val="333333"/>
                </a:solidFill>
              </a:rPr>
              <a:t>Apply to Selected Slide</a:t>
            </a:r>
            <a:r>
              <a:rPr lang="en-US" sz="999" dirty="0" smtClean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Adjust footer (per slide or for several/all slides) via menu bar: Insert // Text //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684309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en-US" sz="1999" dirty="0" smtClean="0">
              <a:solidFill>
                <a:prstClr val="black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6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noProof="0" dirty="0" smtClean="0"/>
              <a:t>Presentation title 30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on one line.</a:t>
            </a:r>
            <a:br>
              <a:rPr lang="en-US" noProof="0" dirty="0" smtClean="0"/>
            </a:br>
            <a:r>
              <a:rPr lang="en-US" noProof="0" dirty="0" smtClean="0"/>
              <a:t>On two lines possible.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 smtClean="0"/>
              <a:t>Additional text for presentation 1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</a:t>
            </a:r>
            <a:br>
              <a:rPr lang="en-US" noProof="0" dirty="0" smtClean="0"/>
            </a:br>
            <a:r>
              <a:rPr lang="en-US" noProof="0" dirty="0" smtClean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pic>
        <p:nvPicPr>
          <p:cNvPr id="12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7" y="-430988"/>
            <a:ext cx="1221702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Reset the slide back to its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original form via menu bar: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Home // Slides // Reset</a:t>
            </a:r>
          </a:p>
          <a:p>
            <a:pPr algn="r"/>
            <a:endParaRPr lang="en-US" sz="999" dirty="0" smtClean="0">
              <a:solidFill>
                <a:srgbClr val="333333"/>
              </a:solidFill>
            </a:endParaRP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Change the slide layout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 smtClean="0">
              <a:solidFill>
                <a:srgbClr val="333333"/>
              </a:solidFill>
            </a:endParaRP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Design // Themes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(Right click: </a:t>
            </a:r>
            <a:r>
              <a:rPr lang="en-US" sz="999" i="1" dirty="0" smtClean="0">
                <a:solidFill>
                  <a:srgbClr val="333333"/>
                </a:solidFill>
              </a:rPr>
              <a:t>Apply to All Slides </a:t>
            </a:r>
            <a:r>
              <a:rPr lang="en-US" sz="999" dirty="0" smtClean="0">
                <a:solidFill>
                  <a:srgbClr val="333333"/>
                </a:solidFill>
              </a:rPr>
              <a:t>or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i="1" dirty="0" smtClean="0">
                <a:solidFill>
                  <a:srgbClr val="333333"/>
                </a:solidFill>
              </a:rPr>
              <a:t>Apply to Selected Slide</a:t>
            </a:r>
            <a:r>
              <a:rPr lang="en-US" sz="999" dirty="0" smtClean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Adjust footer (per slide or for several/all slides) via menu bar: Insert // Text //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31199568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1511300"/>
            <a:ext cx="11404800" cy="4140000"/>
          </a:xfrm>
        </p:spPr>
        <p:txBody>
          <a:bodyPr numCol="2" spcCol="244765"/>
          <a:lstStyle>
            <a:lvl1pPr marL="431723" indent="-431723">
              <a:buFont typeface="+mj-lt"/>
              <a:buAutoNum type="arabicPeriod"/>
              <a:defRPr baseline="0"/>
            </a:lvl1pPr>
            <a:lvl2pPr marL="863446" indent="-431723">
              <a:buFont typeface="+mj-lt"/>
              <a:buAutoNum type="alphaLcPeriod"/>
              <a:defRPr/>
            </a:lvl2pPr>
            <a:lvl3pPr marL="863446" indent="-431723">
              <a:buFont typeface="+mj-lt"/>
              <a:buAutoNum type="alphaLcPeriod"/>
              <a:defRPr sz="1999"/>
            </a:lvl3pPr>
            <a:lvl4pPr marL="863446" indent="-431723">
              <a:buFont typeface="+mj-lt"/>
              <a:buAutoNum type="alphaLcPeriod"/>
              <a:defRPr sz="1999"/>
            </a:lvl4pPr>
            <a:lvl5pPr marL="863446" indent="-431723">
              <a:buFont typeface="+mj-lt"/>
              <a:buAutoNum type="alphaLcPeriod"/>
              <a:defRPr sz="1999"/>
            </a:lvl5pPr>
            <a:lvl6pPr marL="863446" indent="-431723">
              <a:buFont typeface="+mj-lt"/>
              <a:buAutoNum type="alphaLcPeriod"/>
              <a:defRPr sz="1999"/>
            </a:lvl6pPr>
            <a:lvl7pPr marL="863446" indent="-431723">
              <a:buFont typeface="+mj-lt"/>
              <a:buAutoNum type="alphaLcPeriod"/>
              <a:defRPr sz="1999"/>
            </a:lvl7pPr>
            <a:lvl8pPr marL="863446" indent="-431723">
              <a:buFont typeface="+mj-lt"/>
              <a:buAutoNum type="alphaLcPeriod"/>
              <a:defRPr sz="1999"/>
            </a:lvl8pPr>
            <a:lvl9pPr marL="863446" indent="-431723">
              <a:buFont typeface="+mj-lt"/>
              <a:buAutoNum type="alphaLcPeriod"/>
              <a:defRPr sz="1999"/>
            </a:lvl9pPr>
          </a:lstStyle>
          <a:p>
            <a:pPr lvl="0"/>
            <a:r>
              <a:rPr lang="en-US" noProof="0" dirty="0" smtClean="0"/>
              <a:t>Insert agenda poin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// for sub-item: Home // Paragraph// Increase/Decrease List 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7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02928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1"/>
            <a:ext cx="114048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5351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6" y="1512001"/>
            <a:ext cx="11405514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 smtClean="0"/>
              <a:t>Table headline in </a:t>
            </a:r>
            <a:r>
              <a:rPr lang="en-US" noProof="0" dirty="0" err="1" smtClean="0"/>
              <a:t>CorpoS</a:t>
            </a:r>
            <a:r>
              <a:rPr lang="en-US" dirty="0" smtClean="0"/>
              <a:t> (</a:t>
            </a:r>
            <a:r>
              <a:rPr lang="en-US" noProof="0" dirty="0" smtClean="0"/>
              <a:t>Body</a:t>
            </a:r>
            <a:r>
              <a:rPr lang="en-US" dirty="0" smtClean="0"/>
              <a:t>) in 20 pt. bold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 baseline="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 smtClean="0"/>
              <a:t>Table description  in </a:t>
            </a:r>
            <a:r>
              <a:rPr lang="en-US" noProof="0" dirty="0" err="1" smtClean="0"/>
              <a:t>CorpoS</a:t>
            </a:r>
            <a:r>
              <a:rPr lang="en-US" dirty="0" smtClean="0"/>
              <a:t> (</a:t>
            </a:r>
            <a:r>
              <a:rPr lang="en-US" noProof="0" dirty="0" err="1" smtClean="0"/>
              <a:t>Textkörper</a:t>
            </a:r>
            <a:r>
              <a:rPr lang="en-US" dirty="0" smtClean="0"/>
              <a:t>) in 15 pt. 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104700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 smtClean="0"/>
              <a:t>Description in </a:t>
            </a:r>
            <a:r>
              <a:rPr lang="en-US" noProof="0" dirty="0" err="1" smtClean="0"/>
              <a:t>CorpoS</a:t>
            </a:r>
            <a:r>
              <a:rPr lang="en-US" dirty="0" smtClean="0"/>
              <a:t> (</a:t>
            </a:r>
            <a:r>
              <a:rPr lang="en-US" noProof="0" dirty="0" err="1" smtClean="0"/>
              <a:t>Textkörper</a:t>
            </a:r>
            <a:r>
              <a:rPr lang="en-US" dirty="0" smtClean="0"/>
              <a:t>) in 15 pt. 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0"/>
            <a:ext cx="11404800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5452604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480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1"/>
            <a:ext cx="5616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269999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1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1"/>
            <a:ext cx="5580000" cy="4914201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84293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8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8" y="3502801"/>
            <a:ext cx="5580000" cy="2923400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2" y="3502801"/>
            <a:ext cx="5580000" cy="2923400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039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6030980"/>
            <a:ext cx="11398862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333333"/>
                  </a:solidFill>
                </a:rPr>
                <a:t>Change image detail via menu bar: Picture Tools // Format // 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333333"/>
                  </a:solidFill>
                </a:rPr>
                <a:t>Image can be moved within the black boundaries, to adjust easily press Alt-key.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999" dirty="0" smtClean="0">
                  <a:solidFill>
                    <a:srgbClr val="333333"/>
                  </a:solidFill>
                </a:rPr>
              </a:br>
              <a:r>
                <a:rPr lang="en-US" sz="999" dirty="0" smtClean="0">
                  <a:solidFill>
                    <a:srgbClr val="333333"/>
                  </a:solidFill>
                </a:rPr>
                <a:t>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99" dirty="0" smtClean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dirty="0" smtClean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dirty="0" smtClean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dirty="0" smtClean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710989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1"/>
            <a:ext cx="114048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smtClean="0"/>
              <a:t>CorpoS (Body), 20 pt. </a:t>
            </a:r>
            <a:r>
              <a:rPr lang="en-US" dirty="0" smtClean="0"/>
              <a:t>// for bullets: Home // Paragraph// In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Presentation title in CorpoS (Body) 10 pt. | Department | Date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25998582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49" userDrawn="1">
          <p15:clr>
            <a:srgbClr val="A4A3A4"/>
          </p15:clr>
        </p15:guide>
        <p15:guide id="2" pos="7433" userDrawn="1">
          <p15:clr>
            <a:srgbClr val="A4A3A4"/>
          </p15:clr>
        </p15:guide>
        <p15:guide id="3" orient="horz" pos="4049" userDrawn="1">
          <p15:clr>
            <a:srgbClr val="A4A3A4"/>
          </p15:clr>
        </p15:guide>
        <p15:guide id="4" orient="horz" pos="232" userDrawn="1">
          <p15:clr>
            <a:srgbClr val="A4A3A4"/>
          </p15:clr>
        </p15:guide>
        <p15:guide id="5" orient="horz" pos="953" userDrawn="1">
          <p15:clr>
            <a:srgbClr val="A4A3A4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726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0378" y="52526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5" y="27584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5" y="15113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5" y="40055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3" y="1512000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3" y="2758867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3" y="4005734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3" y="52526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4" y="1512000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4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4" y="4005734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4" y="2758867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68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68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68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68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4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4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4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4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1" y="1512000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1" y="4005734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1" y="2758867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1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 bwMode="white">
          <a:xfrm>
            <a:off x="3993925" y="2098800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 bwMode="white">
          <a:xfrm>
            <a:off x="3993925" y="3345667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 bwMode="white">
          <a:xfrm flipH="1">
            <a:off x="7715158" y="20981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 bwMode="white">
          <a:xfrm>
            <a:off x="7715158" y="33452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 bwMode="white">
          <a:xfrm>
            <a:off x="7715158" y="45923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 bwMode="white">
          <a:xfrm>
            <a:off x="7711590" y="5839401"/>
            <a:ext cx="482813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 bwMode="white">
          <a:xfrm>
            <a:off x="3993925" y="5839401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 bwMode="white">
          <a:xfrm>
            <a:off x="3993925" y="4592534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ußzeilenplatzhalter 2"/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00022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2" y="2757600"/>
            <a:ext cx="6148800" cy="2421734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68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6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0945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4" y="3851886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4" y="3383769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4" y="151130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4" y="198000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4" y="291565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4" y="4320000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4" y="2447534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</a:t>
            </a:r>
            <a:r>
              <a:rPr lang="en-US" dirty="0" smtClean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2" y="1511300"/>
            <a:ext cx="7578000" cy="3204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2266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1944000"/>
          </a:xfrm>
          <a:solidFill>
            <a:schemeClr val="accent6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7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chemeClr val="accent6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3501248"/>
            <a:ext cx="3752845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1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7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Foliennummernplatzhalter 2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56796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69547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2" y="1511300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2" y="4043527"/>
            <a:ext cx="56664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2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2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580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4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6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4543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de-DE" sz="1999" dirty="0" smtClean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// for bullets: Home // Paragraph// Increase List 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chemeClr val="accent6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29"/>
            <a:ext cx="3754800" cy="1910916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78"/>
            <a:ext cx="3752845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69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69"/>
            <a:ext cx="1843200" cy="92006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884972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de-DE" sz="1999" dirty="0" smtClean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// for bullets: Home // Paragraph// Increase List 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3495678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78"/>
            <a:ext cx="18432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6" y="3495678"/>
            <a:ext cx="3754800" cy="191113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68"/>
            <a:ext cx="3754800" cy="191259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956143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in weißem Satzspieg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noProof="0" dirty="0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5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395288" y="1511301"/>
            <a:ext cx="11406187" cy="4914900"/>
          </a:xfrm>
          <a:solidFill>
            <a:srgbClr val="FFFFFF"/>
          </a:solidFill>
        </p:spPr>
        <p:txBody>
          <a:bodyPr lIns="72000" tIns="72000" rIns="72000" bIns="7200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  <a:lvl6pPr>
              <a:defRPr>
                <a:solidFill>
                  <a:srgbClr val="000000"/>
                </a:solidFill>
              </a:defRPr>
            </a:lvl6pPr>
            <a:lvl7pPr>
              <a:defRPr>
                <a:solidFill>
                  <a:srgbClr val="000000"/>
                </a:solidFill>
              </a:defRPr>
            </a:lvl7pPr>
            <a:lvl8pPr>
              <a:defRPr>
                <a:solidFill>
                  <a:srgbClr val="000000"/>
                </a:solidFill>
              </a:defRPr>
            </a:lvl8pPr>
            <a:lvl9pPr>
              <a:defRPr>
                <a:solidFill>
                  <a:srgbClr val="000000"/>
                </a:solidFill>
              </a:defRPr>
            </a:lvl9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smtClean="0"/>
              <a:t>CorpoS (Body), 20 pt. </a:t>
            </a:r>
            <a:r>
              <a:rPr lang="en-US" dirty="0" smtClean="0"/>
              <a:t>// for bullets: Home // Paragraph// In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 smtClean="0"/>
              <a:t>Presentation title in CorpoS (Body) 10 pt. | Department | Date</a:t>
            </a:r>
            <a:endParaRPr lang="en-US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08982186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4049" userDrawn="1">
          <p15:clr>
            <a:srgbClr val="A4A3A4"/>
          </p15:clr>
        </p15:guide>
        <p15:guide id="2" pos="249" userDrawn="1">
          <p15:clr>
            <a:srgbClr val="A4A3A4"/>
          </p15:clr>
        </p15:guide>
        <p15:guide id="3" orient="horz" pos="953" userDrawn="1">
          <p15:clr>
            <a:srgbClr val="A4A3A4"/>
          </p15:clr>
        </p15:guide>
        <p15:guide id="4" orient="horz" pos="232" userDrawn="1">
          <p15:clr>
            <a:srgbClr val="A4A3A4"/>
          </p15:clr>
        </p15:guide>
        <p15:guide id="5" pos="7433" userDrawn="1">
          <p15:clr>
            <a:srgbClr val="A4A3A4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 with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4526573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395795" y="1786681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395795" y="462604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395795" y="3206363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5795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4526573" y="6043658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395795" y="6045725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8846408" y="178616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8846408" y="462449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8846408" y="320532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8846408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8846408" y="6043658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Highligh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, 20 pt.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44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45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7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2477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2" cy="6858824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0"/>
            <a:ext cx="2994158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2" y="1155600"/>
            <a:ext cx="2994158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2" y="4619700"/>
            <a:ext cx="29939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55080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95082" y="1512001"/>
            <a:ext cx="5508000" cy="2949301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99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1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3725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1"/>
            <a:ext cx="6062400" cy="45477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0"/>
            <a:ext cx="60624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1"/>
            <a:ext cx="2993642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5774400"/>
            <a:ext cx="2994158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2" y="2309400"/>
            <a:ext cx="2994158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2" y="0"/>
            <a:ext cx="2994158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5683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 smtClean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 smtClean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2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57" y="5774400"/>
            <a:ext cx="2993383" cy="1083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57" y="2309400"/>
            <a:ext cx="2993383" cy="3393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0"/>
            <a:ext cx="299520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0"/>
            <a:ext cx="2993640" cy="33921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0"/>
            <a:ext cx="2993640" cy="22383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1425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540000"/>
          </a:xfrm>
        </p:spPr>
        <p:txBody>
          <a:bodyPr/>
          <a:lstStyle>
            <a:lvl1pPr>
              <a:defRPr sz="2999" baseline="0"/>
            </a:lvl1pPr>
          </a:lstStyle>
          <a:p>
            <a:r>
              <a:rPr lang="en-US" noProof="0" dirty="0" smtClean="0"/>
              <a:t>Optional headline on one line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endParaRPr lang="en-US" noProof="0" dirty="0"/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607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 headline on two lines als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Headline for content page in CorpoA Regular 30 pt on two line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Text slides are in CorpoS Regular, 20 pt.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>
          <a:xfrm>
            <a:off x="6552020" y="6533978"/>
            <a:ext cx="799956" cy="323841"/>
          </a:xfrm>
          <a:prstGeom prst="rect">
            <a:avLst/>
          </a:prstGeom>
        </p:spPr>
        <p:txBody>
          <a:bodyPr/>
          <a:lstStyle/>
          <a:p>
            <a:fld id="{89C21B84-5677-4D13-87CD-BAE99238E6D2}" type="datetime1">
              <a:rPr lang="en-US" smtClean="0">
                <a:solidFill>
                  <a:prstClr val="black"/>
                </a:solidFill>
              </a:rPr>
              <a:pPr/>
              <a:t>8/28/2018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/>
                </a:solidFill>
              </a:rPr>
              <a:t>S&amp;M AS Vans Department, Mercedes-Benz Russia</a:t>
            </a:r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8BD4307-8E25-4063-B042-91C9BB9E4C20}" type="slidenum">
              <a:rPr lang="de-DE" smtClean="0">
                <a:solidFill>
                  <a:prstClr val="black"/>
                </a:solidFill>
              </a:rPr>
              <a:pPr/>
              <a:t>‹#›</a:t>
            </a:fld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5" name="Textplatzhalter 4"/>
          <p:cNvSpPr>
            <a:spLocks noGrp="1" noChangeAspect="1"/>
          </p:cNvSpPr>
          <p:nvPr>
            <p:ph type="body" sz="quarter" idx="19" hasCustomPrompt="1"/>
          </p:nvPr>
        </p:nvSpPr>
        <p:spPr>
          <a:xfrm>
            <a:off x="418277" y="161180"/>
            <a:ext cx="7416600" cy="228594"/>
          </a:xfrm>
        </p:spPr>
        <p:txBody>
          <a:bodyPr>
            <a:noAutofit/>
          </a:bodyPr>
          <a:lstStyle>
            <a:lvl1pPr marL="0" indent="0">
              <a:buFont typeface="Arial" pitchFamily="34" charset="0"/>
              <a:buNone/>
              <a:defRPr sz="1270"/>
            </a:lvl1pPr>
            <a:lvl2pPr marL="0" indent="0">
              <a:buNone/>
              <a:defRPr sz="1587"/>
            </a:lvl2pPr>
            <a:lvl3pPr marL="0" indent="0">
              <a:buNone/>
              <a:defRPr sz="1587"/>
            </a:lvl3pPr>
            <a:lvl4pPr marL="0" indent="0">
              <a:buNone/>
              <a:defRPr sz="1587"/>
            </a:lvl4pPr>
            <a:lvl5pPr marL="0" indent="0">
              <a:buNone/>
              <a:defRPr sz="1587"/>
            </a:lvl5pPr>
            <a:lvl6pPr marL="0" indent="0">
              <a:buNone/>
              <a:defRPr sz="1587"/>
            </a:lvl6pPr>
            <a:lvl7pPr marL="0" indent="0">
              <a:buNone/>
              <a:defRPr sz="1587"/>
            </a:lvl7pPr>
            <a:lvl8pPr marL="0" indent="0">
              <a:buNone/>
              <a:defRPr sz="1587"/>
            </a:lvl8pPr>
            <a:lvl9pPr marL="0" indent="0">
              <a:buNone/>
              <a:defRPr sz="1587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9785269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3" hasCustomPrompt="1"/>
          </p:nvPr>
        </p:nvSpPr>
        <p:spPr>
          <a:xfrm>
            <a:off x="7713864" y="76198"/>
            <a:ext cx="1988462" cy="323841"/>
          </a:xfrm>
          <a:noFill/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itchFamily="34" charset="0"/>
              <a:buNone/>
              <a:defRPr sz="635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2pPr>
            <a:lvl3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3pPr>
            <a:lvl4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4pPr>
            <a:lvl5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5pPr>
            <a:lvl6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6pPr>
            <a:lvl7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7pPr>
            <a:lvl8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8pPr>
            <a:lvl9pPr marL="190440" indent="0">
              <a:lnSpc>
                <a:spcPct val="100000"/>
              </a:lnSpc>
              <a:spcAft>
                <a:spcPts val="0"/>
              </a:spcAft>
              <a:buNone/>
              <a:defRPr sz="635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 smtClean="0"/>
              <a:t>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1689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rivate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en-US" sz="1999" dirty="0" smtClean="0">
              <a:solidFill>
                <a:prstClr val="black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noProof="0" dirty="0" smtClean="0"/>
              <a:t>Presentation title 30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on one line.</a:t>
            </a:r>
            <a:br>
              <a:rPr lang="en-US" noProof="0" dirty="0" smtClean="0"/>
            </a:br>
            <a:r>
              <a:rPr lang="en-US" noProof="0" dirty="0" smtClean="0"/>
              <a:t>On two lines possible.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 smtClean="0"/>
              <a:t>Additional text for presentation 1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</a:t>
            </a:r>
            <a:br>
              <a:rPr lang="en-US" noProof="0" dirty="0" smtClean="0"/>
            </a:br>
            <a:r>
              <a:rPr lang="en-US" noProof="0" dirty="0" smtClean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pic>
        <p:nvPicPr>
          <p:cNvPr id="12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7" y="-430988"/>
            <a:ext cx="1221702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Reset the slide back to its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original form via menu bar: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Home // Slides // Reset</a:t>
            </a:r>
          </a:p>
          <a:p>
            <a:pPr algn="r"/>
            <a:endParaRPr lang="en-US" sz="999" dirty="0" smtClean="0">
              <a:solidFill>
                <a:srgbClr val="333333"/>
              </a:solidFill>
            </a:endParaRP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Change the slide layout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 smtClean="0">
              <a:solidFill>
                <a:srgbClr val="333333"/>
              </a:solidFill>
            </a:endParaRP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Design // Themes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(Right click: </a:t>
            </a:r>
            <a:r>
              <a:rPr lang="en-US" sz="999" i="1" dirty="0" smtClean="0">
                <a:solidFill>
                  <a:srgbClr val="333333"/>
                </a:solidFill>
              </a:rPr>
              <a:t>Apply to All Slides </a:t>
            </a:r>
            <a:r>
              <a:rPr lang="en-US" sz="999" dirty="0" smtClean="0">
                <a:solidFill>
                  <a:srgbClr val="333333"/>
                </a:solidFill>
              </a:rPr>
              <a:t>or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i="1" dirty="0" smtClean="0">
                <a:solidFill>
                  <a:srgbClr val="333333"/>
                </a:solidFill>
              </a:rPr>
              <a:t>Apply to Selected Slide</a:t>
            </a:r>
            <a:r>
              <a:rPr lang="en-US" sz="999" dirty="0" smtClean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Adjust footer (per slide or for several/all slides) via menu bar: Insert // Text //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40925467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mmercial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en-US" sz="1999" dirty="0" smtClean="0">
              <a:solidFill>
                <a:prstClr val="black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6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noProof="0" dirty="0" smtClean="0"/>
              <a:t>Presentation title 30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on one line.</a:t>
            </a:r>
            <a:br>
              <a:rPr lang="en-US" noProof="0" dirty="0" smtClean="0"/>
            </a:br>
            <a:r>
              <a:rPr lang="en-US" noProof="0" dirty="0" smtClean="0"/>
              <a:t>On two lines possible.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 smtClean="0"/>
              <a:t>Additional text for presentation 1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</a:t>
            </a:r>
            <a:br>
              <a:rPr lang="en-US" noProof="0" dirty="0" smtClean="0"/>
            </a:br>
            <a:r>
              <a:rPr lang="en-US" noProof="0" dirty="0" smtClean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pic>
        <p:nvPicPr>
          <p:cNvPr id="12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7" y="-430988"/>
            <a:ext cx="1221702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Reset the slide back to its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original form via menu bar: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Home // Slides // Reset</a:t>
            </a:r>
          </a:p>
          <a:p>
            <a:pPr algn="r"/>
            <a:endParaRPr lang="en-US" sz="999" dirty="0" smtClean="0">
              <a:solidFill>
                <a:srgbClr val="333333"/>
              </a:solidFill>
            </a:endParaRP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Change the slide layout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 smtClean="0">
              <a:solidFill>
                <a:srgbClr val="333333"/>
              </a:solidFill>
            </a:endParaRP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Design // Themes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(Right click: </a:t>
            </a:r>
            <a:r>
              <a:rPr lang="en-US" sz="999" i="1" dirty="0" smtClean="0">
                <a:solidFill>
                  <a:srgbClr val="333333"/>
                </a:solidFill>
              </a:rPr>
              <a:t>Apply to All Slides </a:t>
            </a:r>
            <a:r>
              <a:rPr lang="en-US" sz="999" dirty="0" smtClean="0">
                <a:solidFill>
                  <a:srgbClr val="333333"/>
                </a:solidFill>
              </a:rPr>
              <a:t>or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i="1" dirty="0" smtClean="0">
                <a:solidFill>
                  <a:srgbClr val="333333"/>
                </a:solidFill>
              </a:rPr>
              <a:t>Apply to Selected Slide</a:t>
            </a:r>
            <a:r>
              <a:rPr lang="en-US" sz="999" dirty="0" smtClean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Adjust footer (per slide or for several/all slides) via menu bar: Insert // Text //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1229651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amper 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">
          <a:xfrm>
            <a:off x="0" y="0"/>
            <a:ext cx="1219045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en-US" sz="1999" dirty="0" smtClean="0">
              <a:solidFill>
                <a:prstClr val="black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499"/>
            <a:ext cx="12191746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noProof="0" dirty="0" smtClean="0"/>
              <a:t>Presentation title 30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on one line.</a:t>
            </a:r>
            <a:br>
              <a:rPr lang="en-US" noProof="0" dirty="0" smtClean="0"/>
            </a:br>
            <a:r>
              <a:rPr lang="en-US" noProof="0" dirty="0" smtClean="0"/>
              <a:t>On two lines possible.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 smtClean="0"/>
              <a:t>Additional text for presentation 15 </a:t>
            </a:r>
            <a:r>
              <a:rPr lang="en-US" noProof="0" dirty="0" err="1" smtClean="0"/>
              <a:t>pt</a:t>
            </a:r>
            <a:r>
              <a:rPr lang="en-US" noProof="0" dirty="0" smtClean="0"/>
              <a:t> </a:t>
            </a:r>
            <a:br>
              <a:rPr lang="en-US" noProof="0" dirty="0" smtClean="0"/>
            </a:br>
            <a:r>
              <a:rPr lang="en-US" noProof="0" dirty="0" smtClean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pic>
        <p:nvPicPr>
          <p:cNvPr id="12" name="Entwurfsvorlag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31307" y="-430988"/>
            <a:ext cx="1221702" cy="745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Reset the slide back to its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original form via menu bar: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Home // Slides // Reset</a:t>
            </a:r>
          </a:p>
          <a:p>
            <a:pPr algn="r"/>
            <a:endParaRPr lang="en-US" sz="999" dirty="0" smtClean="0">
              <a:solidFill>
                <a:srgbClr val="333333"/>
              </a:solidFill>
            </a:endParaRP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Change the slide layout 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 smtClean="0">
              <a:solidFill>
                <a:srgbClr val="333333"/>
              </a:solidFill>
            </a:endParaRP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Alternating between white and black slide layouts via menu bar: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dirty="0" smtClean="0">
                <a:solidFill>
                  <a:srgbClr val="333333"/>
                </a:solidFill>
              </a:rPr>
              <a:t>Design // Themes</a:t>
            </a:r>
          </a:p>
          <a:p>
            <a:pPr algn="r"/>
            <a:r>
              <a:rPr lang="en-US" sz="999" dirty="0" smtClean="0">
                <a:solidFill>
                  <a:srgbClr val="333333"/>
                </a:solidFill>
              </a:rPr>
              <a:t>(Right click: </a:t>
            </a:r>
            <a:r>
              <a:rPr lang="en-US" sz="999" i="1" dirty="0" smtClean="0">
                <a:solidFill>
                  <a:srgbClr val="333333"/>
                </a:solidFill>
              </a:rPr>
              <a:t>Apply to All Slides </a:t>
            </a:r>
            <a:r>
              <a:rPr lang="en-US" sz="999" dirty="0" smtClean="0">
                <a:solidFill>
                  <a:srgbClr val="333333"/>
                </a:solidFill>
              </a:rPr>
              <a:t>or </a:t>
            </a:r>
            <a:br>
              <a:rPr lang="en-US" sz="999" dirty="0" smtClean="0">
                <a:solidFill>
                  <a:srgbClr val="333333"/>
                </a:solidFill>
              </a:rPr>
            </a:br>
            <a:r>
              <a:rPr lang="en-US" sz="999" i="1" dirty="0" smtClean="0">
                <a:solidFill>
                  <a:srgbClr val="333333"/>
                </a:solidFill>
              </a:rPr>
              <a:t>Apply to Selected Slide</a:t>
            </a:r>
            <a:r>
              <a:rPr lang="en-US" sz="999" dirty="0" smtClean="0">
                <a:solidFill>
                  <a:srgbClr val="333333"/>
                </a:solidFill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42388">
              <a:defRPr/>
            </a:pPr>
            <a:r>
              <a:rPr lang="en-US" sz="999" dirty="0" smtClean="0">
                <a:solidFill>
                  <a:srgbClr val="333333"/>
                </a:solidFill>
              </a:rPr>
              <a:t>Adjust footer (per slide or for several/all slides) via menu bar: Insert // Text // Header &amp; Footer</a:t>
            </a:r>
          </a:p>
        </p:txBody>
      </p:sp>
    </p:spTree>
    <p:extLst>
      <p:ext uri="{BB962C8B-B14F-4D97-AF65-F5344CB8AC3E}">
        <p14:creationId xmlns:p14="http://schemas.microsoft.com/office/powerpoint/2010/main" val="4224992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1511300"/>
            <a:ext cx="11404800" cy="4140000"/>
          </a:xfrm>
        </p:spPr>
        <p:txBody>
          <a:bodyPr numCol="2" spcCol="244765"/>
          <a:lstStyle>
            <a:lvl1pPr marL="431723" indent="-431723">
              <a:buFont typeface="+mj-lt"/>
              <a:buAutoNum type="arabicPeriod"/>
              <a:defRPr baseline="0"/>
            </a:lvl1pPr>
            <a:lvl2pPr marL="863446" indent="-431723">
              <a:buFont typeface="+mj-lt"/>
              <a:buAutoNum type="alphaLcPeriod"/>
              <a:defRPr/>
            </a:lvl2pPr>
            <a:lvl3pPr marL="863446" indent="-431723">
              <a:buFont typeface="+mj-lt"/>
              <a:buAutoNum type="alphaLcPeriod"/>
              <a:defRPr sz="1999"/>
            </a:lvl3pPr>
            <a:lvl4pPr marL="863446" indent="-431723">
              <a:buFont typeface="+mj-lt"/>
              <a:buAutoNum type="alphaLcPeriod"/>
              <a:defRPr sz="1999"/>
            </a:lvl4pPr>
            <a:lvl5pPr marL="863446" indent="-431723">
              <a:buFont typeface="+mj-lt"/>
              <a:buAutoNum type="alphaLcPeriod"/>
              <a:defRPr sz="1999"/>
            </a:lvl5pPr>
            <a:lvl6pPr marL="863446" indent="-431723">
              <a:buFont typeface="+mj-lt"/>
              <a:buAutoNum type="alphaLcPeriod"/>
              <a:defRPr sz="1999"/>
            </a:lvl6pPr>
            <a:lvl7pPr marL="863446" indent="-431723">
              <a:buFont typeface="+mj-lt"/>
              <a:buAutoNum type="alphaLcPeriod"/>
              <a:defRPr sz="1999"/>
            </a:lvl7pPr>
            <a:lvl8pPr marL="863446" indent="-431723">
              <a:buFont typeface="+mj-lt"/>
              <a:buAutoNum type="alphaLcPeriod"/>
              <a:defRPr sz="1999"/>
            </a:lvl8pPr>
            <a:lvl9pPr marL="863446" indent="-431723">
              <a:buFont typeface="+mj-lt"/>
              <a:buAutoNum type="alphaLcPeriod"/>
              <a:defRPr sz="1999"/>
            </a:lvl9pPr>
          </a:lstStyle>
          <a:p>
            <a:pPr lvl="0"/>
            <a:r>
              <a:rPr lang="en-US" noProof="0" dirty="0" smtClean="0"/>
              <a:t>Insert agenda poin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// for sub-item: Home // Paragraph// Increase/Decrease List 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7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126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nsert tabl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6" y="1512001"/>
            <a:ext cx="11405514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 smtClean="0"/>
              <a:t>Table headline in </a:t>
            </a:r>
            <a:r>
              <a:rPr lang="en-US" noProof="0" dirty="0" smtClean="0"/>
              <a:t>CorpoS</a:t>
            </a:r>
            <a:r>
              <a:rPr lang="en-US" dirty="0" smtClean="0"/>
              <a:t> (</a:t>
            </a:r>
            <a:r>
              <a:rPr lang="en-US" noProof="0" dirty="0" smtClean="0"/>
              <a:t>Body</a:t>
            </a:r>
            <a:r>
              <a:rPr lang="en-US" dirty="0" smtClean="0"/>
              <a:t>) in 20 pt. bold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 baseline="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 smtClean="0"/>
              <a:t>Table description  in </a:t>
            </a:r>
            <a:r>
              <a:rPr lang="en-US" noProof="0" dirty="0" smtClean="0"/>
              <a:t>CorpoS</a:t>
            </a:r>
            <a:r>
              <a:rPr lang="en-US" dirty="0" smtClean="0"/>
              <a:t> (</a:t>
            </a:r>
            <a:r>
              <a:rPr lang="en-US" noProof="0" dirty="0" smtClean="0"/>
              <a:t>Body</a:t>
            </a:r>
            <a:r>
              <a:rPr lang="en-US" dirty="0" smtClean="0"/>
              <a:t>) in 15 pt. 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noProof="0" smtClean="0"/>
              <a:t>Presentation title in CorpoS (Body) 10 pt. | Department | Date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D1D1349-391B-44DC-865F-5996B3E40F2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117746148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7433" userDrawn="1">
          <p15:clr>
            <a:srgbClr val="A4A3A4"/>
          </p15:clr>
        </p15:guide>
        <p15:guide id="2" orient="horz" pos="953" userDrawn="1">
          <p15:clr>
            <a:srgbClr val="A4A3A4"/>
          </p15:clr>
        </p15:guide>
        <p15:guide id="3" orient="horz" pos="232" userDrawn="1">
          <p15:clr>
            <a:srgbClr val="A4A3A4"/>
          </p15:clr>
        </p15:guide>
        <p15:guide id="4" orient="horz" pos="4049" userDrawn="1">
          <p15:clr>
            <a:srgbClr val="A4A3A4"/>
          </p15:clr>
        </p15:guide>
        <p15:guide id="5" pos="249" userDrawn="1">
          <p15:clr>
            <a:srgbClr val="A4A3A4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1"/>
            <a:ext cx="114048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150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nsert table</a:t>
            </a:r>
            <a:endParaRPr lang="en-US" dirty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6" y="1512001"/>
            <a:ext cx="11405514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 smtClean="0"/>
              <a:t>Table headline in </a:t>
            </a:r>
            <a:r>
              <a:rPr lang="en-US" noProof="0" dirty="0" err="1" smtClean="0"/>
              <a:t>CorpoS</a:t>
            </a:r>
            <a:r>
              <a:rPr lang="en-US" dirty="0" smtClean="0"/>
              <a:t> (</a:t>
            </a:r>
            <a:r>
              <a:rPr lang="en-US" noProof="0" dirty="0" smtClean="0"/>
              <a:t>Body</a:t>
            </a:r>
            <a:r>
              <a:rPr lang="en-US" dirty="0" smtClean="0"/>
              <a:t>) in 20 pt. bold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 baseline="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 smtClean="0"/>
              <a:t>Table description  in </a:t>
            </a:r>
            <a:r>
              <a:rPr lang="en-US" noProof="0" dirty="0" err="1" smtClean="0"/>
              <a:t>CorpoS</a:t>
            </a:r>
            <a:r>
              <a:rPr lang="en-US" dirty="0" smtClean="0"/>
              <a:t> (</a:t>
            </a:r>
            <a:r>
              <a:rPr lang="en-US" noProof="0" dirty="0" err="1" smtClean="0"/>
              <a:t>Textkörper</a:t>
            </a:r>
            <a:r>
              <a:rPr lang="en-US" dirty="0" smtClean="0"/>
              <a:t>) in 15 pt. 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787922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5"/>
          <p:cNvSpPr>
            <a:spLocks noGrp="1"/>
          </p:cNvSpPr>
          <p:nvPr>
            <p:ph type="sldNum" sz="quarter" idx="16"/>
          </p:nvPr>
        </p:nvSpPr>
        <p:spPr>
          <a:xfrm>
            <a:off x="11800801" y="6552000"/>
            <a:ext cx="323999" cy="306000"/>
          </a:xfr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                                             </a:t>
            </a:r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 smtClean="0"/>
              <a:t>Description in </a:t>
            </a:r>
            <a:r>
              <a:rPr lang="en-US" noProof="0" dirty="0" err="1" smtClean="0"/>
              <a:t>CorpoS</a:t>
            </a:r>
            <a:r>
              <a:rPr lang="en-US" dirty="0" smtClean="0"/>
              <a:t> (</a:t>
            </a:r>
            <a:r>
              <a:rPr lang="en-US" noProof="0" dirty="0" err="1" smtClean="0"/>
              <a:t>Textkörper</a:t>
            </a:r>
            <a:r>
              <a:rPr lang="en-US" dirty="0" smtClean="0"/>
              <a:t>) in 15 pt. 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0"/>
            <a:ext cx="11404800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21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3576536" y="6552000"/>
            <a:ext cx="7848000" cy="306000"/>
          </a:xfr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4396522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480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1"/>
            <a:ext cx="5616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Insert content or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955242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1"/>
            <a:ext cx="5580000" cy="4914201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1"/>
            <a:ext cx="5580000" cy="4914201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78633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8" y="1511300"/>
            <a:ext cx="5580000" cy="1944000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8" y="3502801"/>
            <a:ext cx="5580000" cy="2923400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2" y="3502801"/>
            <a:ext cx="5580000" cy="2923400"/>
          </a:xfrm>
        </p:spPr>
        <p:txBody>
          <a:bodyPr/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6998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11404800" cy="4476227"/>
          </a:xfrm>
          <a:solidFill>
            <a:schemeClr val="accent6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6030980"/>
            <a:ext cx="11398862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 smtClean="0"/>
              <a:t>Captio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15 pt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333333"/>
                  </a:solidFill>
                </a:rPr>
                <a:t>Change image detail via menu bar: Picture Tools // Format // 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333333"/>
                  </a:solidFill>
                </a:rPr>
                <a:t>Image can be moved within the black boundaries, to adjust easily press Alt-key.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333333"/>
                  </a:solidFill>
                </a:rPr>
                <a:t>Crop image size via menu bar: Picture Tools // Format // </a:t>
              </a:r>
              <a:br>
                <a:rPr lang="en-US" sz="999" dirty="0" smtClean="0">
                  <a:solidFill>
                    <a:srgbClr val="333333"/>
                  </a:solidFill>
                </a:rPr>
              </a:br>
              <a:r>
                <a:rPr lang="en-US" sz="999" dirty="0" smtClean="0">
                  <a:solidFill>
                    <a:srgbClr val="333333"/>
                  </a:solidFill>
                </a:rPr>
                <a:t>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333333"/>
                  </a:solidFill>
                </a:rPr>
                <a:t>While holding the shift-key, adjust the size of the image with the white corner points. 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99" dirty="0" smtClean="0">
                <a:solidFill>
                  <a:srgbClr val="333333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 smtClean="0">
                  <a:solidFill>
                    <a:srgbClr val="333333"/>
                  </a:solidFill>
                </a:rPr>
                <a:t>To fit the image size  into the frame via menu bar: Picture Tools // Format // Size // Crop // Fit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 smtClean="0">
                <a:solidFill>
                  <a:srgbClr val="333333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99" dirty="0" smtClean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dirty="0" smtClean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dirty="0" smtClean="0">
                  <a:solidFill>
                    <a:srgbClr val="333333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dirty="0" smtClean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03" b="26297"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1756604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8760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0378" y="52526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5" y="27584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5" y="15113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5" y="40055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3" y="1512000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3" y="2758867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3" y="4005734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3" y="52526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</a:t>
            </a:r>
            <a:br>
              <a:rPr lang="en-US" noProof="0" dirty="0" smtClean="0"/>
            </a:br>
            <a:r>
              <a:rPr lang="en-US" noProof="0" dirty="0" smtClean="0"/>
              <a:t>1</a:t>
            </a:r>
            <a:r>
              <a:rPr lang="en-US" dirty="0" smtClean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4" y="1512000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4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4" y="4005734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4" y="2758867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68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68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68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68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</a:t>
            </a:r>
            <a:r>
              <a:rPr lang="en-US" dirty="0" smtClean="0"/>
              <a:t>15 pt. </a:t>
            </a:r>
            <a:r>
              <a:rPr lang="en-US" noProof="0" dirty="0" smtClean="0"/>
              <a:t>// for smaller text: Increase List Level</a:t>
            </a:r>
            <a:endParaRPr lang="en-US" dirty="0" smtClean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4" y="15113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4" y="40055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4" y="27584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4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1" y="1512000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1" y="4005734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1" y="2758867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1" y="5252601"/>
            <a:ext cx="1691124" cy="1173600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  <a:endParaRPr lang="en-US" noProof="0" dirty="0"/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 bwMode="white">
          <a:xfrm>
            <a:off x="3993925" y="2098800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 bwMode="white">
          <a:xfrm>
            <a:off x="3993925" y="3345667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 bwMode="white">
          <a:xfrm flipH="1">
            <a:off x="7715158" y="20981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 bwMode="white">
          <a:xfrm>
            <a:off x="7715158" y="33452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 bwMode="white">
          <a:xfrm>
            <a:off x="7715158" y="45923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 bwMode="white">
          <a:xfrm>
            <a:off x="7711590" y="5839401"/>
            <a:ext cx="482813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 bwMode="white">
          <a:xfrm>
            <a:off x="3993925" y="5839401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 bwMode="white">
          <a:xfrm>
            <a:off x="3993925" y="4592534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ußzeilenplatzhalter 2"/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17383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2" y="2757600"/>
            <a:ext cx="6148800" cy="2421734"/>
          </a:xfrm>
          <a:solidFill>
            <a:schemeClr val="accent6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999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noProof="0" dirty="0" smtClean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 smtClean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68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6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1516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34" Type="http://schemas.openxmlformats.org/officeDocument/2006/relationships/image" Target="../media/image13.emf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slideLayout" Target="../slideLayouts/slideLayout58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31" Type="http://schemas.openxmlformats.org/officeDocument/2006/relationships/vmlDrawing" Target="../drawings/vmlDrawing1.v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Relationship Id="rId30" Type="http://schemas.openxmlformats.org/officeDocument/2006/relationships/theme" Target="../theme/theme2.xml"/><Relationship Id="rId35" Type="http://schemas.openxmlformats.org/officeDocument/2006/relationships/image" Target="../media/image14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26" Type="http://schemas.openxmlformats.org/officeDocument/2006/relationships/slideLayout" Target="../slideLayouts/slideLayout84.xml"/><Relationship Id="rId3" Type="http://schemas.openxmlformats.org/officeDocument/2006/relationships/slideLayout" Target="../slideLayouts/slideLayout61.xml"/><Relationship Id="rId21" Type="http://schemas.openxmlformats.org/officeDocument/2006/relationships/slideLayout" Target="../slideLayouts/slideLayout79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slideLayout" Target="../slideLayouts/slideLayout83.xml"/><Relationship Id="rId33" Type="http://schemas.openxmlformats.org/officeDocument/2006/relationships/image" Target="../media/image14.emf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78.xml"/><Relationship Id="rId29" Type="http://schemas.openxmlformats.org/officeDocument/2006/relationships/vmlDrawing" Target="../drawings/vmlDrawing4.v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slideLayout" Target="../slideLayouts/slideLayout82.xml"/><Relationship Id="rId32" Type="http://schemas.openxmlformats.org/officeDocument/2006/relationships/image" Target="../media/image15.emf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slideLayout" Target="../slideLayouts/slideLayout81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31" Type="http://schemas.openxmlformats.org/officeDocument/2006/relationships/oleObject" Target="../embeddings/oleObject4.bin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Relationship Id="rId27" Type="http://schemas.openxmlformats.org/officeDocument/2006/relationships/slideLayout" Target="../slideLayouts/slideLayout85.xml"/><Relationship Id="rId30" Type="http://schemas.openxmlformats.org/officeDocument/2006/relationships/tags" Target="../tags/tag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slideLayout" Target="../slideLayouts/slideLayout98.xml"/><Relationship Id="rId18" Type="http://schemas.openxmlformats.org/officeDocument/2006/relationships/slideLayout" Target="../slideLayouts/slideLayout103.xml"/><Relationship Id="rId26" Type="http://schemas.openxmlformats.org/officeDocument/2006/relationships/slideLayout" Target="../slideLayouts/slideLayout111.xml"/><Relationship Id="rId3" Type="http://schemas.openxmlformats.org/officeDocument/2006/relationships/slideLayout" Target="../slideLayouts/slideLayout88.xml"/><Relationship Id="rId21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97.xml"/><Relationship Id="rId17" Type="http://schemas.openxmlformats.org/officeDocument/2006/relationships/slideLayout" Target="../slideLayouts/slideLayout102.xml"/><Relationship Id="rId25" Type="http://schemas.openxmlformats.org/officeDocument/2006/relationships/slideLayout" Target="../slideLayouts/slideLayout110.xml"/><Relationship Id="rId2" Type="http://schemas.openxmlformats.org/officeDocument/2006/relationships/slideLayout" Target="../slideLayouts/slideLayout87.xml"/><Relationship Id="rId16" Type="http://schemas.openxmlformats.org/officeDocument/2006/relationships/slideLayout" Target="../slideLayouts/slideLayout101.xml"/><Relationship Id="rId20" Type="http://schemas.openxmlformats.org/officeDocument/2006/relationships/slideLayout" Target="../slideLayouts/slideLayout105.xml"/><Relationship Id="rId29" Type="http://schemas.openxmlformats.org/officeDocument/2006/relationships/tags" Target="../tags/tag6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24" Type="http://schemas.openxmlformats.org/officeDocument/2006/relationships/slideLayout" Target="../slideLayouts/slideLayout109.xml"/><Relationship Id="rId32" Type="http://schemas.openxmlformats.org/officeDocument/2006/relationships/image" Target="../media/image14.emf"/><Relationship Id="rId5" Type="http://schemas.openxmlformats.org/officeDocument/2006/relationships/slideLayout" Target="../slideLayouts/slideLayout90.xml"/><Relationship Id="rId15" Type="http://schemas.openxmlformats.org/officeDocument/2006/relationships/slideLayout" Target="../slideLayouts/slideLayout100.xml"/><Relationship Id="rId23" Type="http://schemas.openxmlformats.org/officeDocument/2006/relationships/slideLayout" Target="../slideLayouts/slideLayout108.xml"/><Relationship Id="rId28" Type="http://schemas.openxmlformats.org/officeDocument/2006/relationships/vmlDrawing" Target="../drawings/vmlDrawing5.vml"/><Relationship Id="rId10" Type="http://schemas.openxmlformats.org/officeDocument/2006/relationships/slideLayout" Target="../slideLayouts/slideLayout95.xml"/><Relationship Id="rId19" Type="http://schemas.openxmlformats.org/officeDocument/2006/relationships/slideLayout" Target="../slideLayouts/slideLayout104.xml"/><Relationship Id="rId31" Type="http://schemas.openxmlformats.org/officeDocument/2006/relationships/image" Target="../media/image15.emf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slideLayout" Target="../slideLayouts/slideLayout99.xml"/><Relationship Id="rId22" Type="http://schemas.openxmlformats.org/officeDocument/2006/relationships/slideLayout" Target="../slideLayouts/slideLayout107.xml"/><Relationship Id="rId27" Type="http://schemas.openxmlformats.org/officeDocument/2006/relationships/theme" Target="../theme/theme4.xml"/><Relationship Id="rId30" Type="http://schemas.openxmlformats.org/officeDocument/2006/relationships/oleObject" Target="../embeddings/oleObject5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13" Type="http://schemas.openxmlformats.org/officeDocument/2006/relationships/slideLayout" Target="../slideLayouts/slideLayout124.xml"/><Relationship Id="rId18" Type="http://schemas.openxmlformats.org/officeDocument/2006/relationships/slideLayout" Target="../slideLayouts/slideLayout129.xml"/><Relationship Id="rId26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14.xml"/><Relationship Id="rId21" Type="http://schemas.openxmlformats.org/officeDocument/2006/relationships/slideLayout" Target="../slideLayouts/slideLayout132.xml"/><Relationship Id="rId7" Type="http://schemas.openxmlformats.org/officeDocument/2006/relationships/slideLayout" Target="../slideLayouts/slideLayout118.xml"/><Relationship Id="rId12" Type="http://schemas.openxmlformats.org/officeDocument/2006/relationships/slideLayout" Target="../slideLayouts/slideLayout123.xml"/><Relationship Id="rId17" Type="http://schemas.openxmlformats.org/officeDocument/2006/relationships/slideLayout" Target="../slideLayouts/slideLayout128.xml"/><Relationship Id="rId25" Type="http://schemas.openxmlformats.org/officeDocument/2006/relationships/slideLayout" Target="../slideLayouts/slideLayout136.xml"/><Relationship Id="rId2" Type="http://schemas.openxmlformats.org/officeDocument/2006/relationships/slideLayout" Target="../slideLayouts/slideLayout113.xml"/><Relationship Id="rId16" Type="http://schemas.openxmlformats.org/officeDocument/2006/relationships/slideLayout" Target="../slideLayouts/slideLayout127.xml"/><Relationship Id="rId20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122.xml"/><Relationship Id="rId24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16.xml"/><Relationship Id="rId15" Type="http://schemas.openxmlformats.org/officeDocument/2006/relationships/slideLayout" Target="../slideLayouts/slideLayout126.xml"/><Relationship Id="rId23" Type="http://schemas.openxmlformats.org/officeDocument/2006/relationships/slideLayout" Target="../slideLayouts/slideLayout134.xml"/><Relationship Id="rId28" Type="http://schemas.openxmlformats.org/officeDocument/2006/relationships/image" Target="../media/image14.emf"/><Relationship Id="rId10" Type="http://schemas.openxmlformats.org/officeDocument/2006/relationships/slideLayout" Target="../slideLayouts/slideLayout121.xml"/><Relationship Id="rId19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slideLayout" Target="../slideLayouts/slideLayout125.xml"/><Relationship Id="rId22" Type="http://schemas.openxmlformats.org/officeDocument/2006/relationships/slideLayout" Target="../slideLayouts/slideLayout133.xml"/><Relationship Id="rId27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13" Type="http://schemas.openxmlformats.org/officeDocument/2006/relationships/slideLayout" Target="../slideLayouts/slideLayout150.xml"/><Relationship Id="rId18" Type="http://schemas.openxmlformats.org/officeDocument/2006/relationships/slideLayout" Target="../slideLayouts/slideLayout155.xml"/><Relationship Id="rId26" Type="http://schemas.openxmlformats.org/officeDocument/2006/relationships/slideLayout" Target="../slideLayouts/slideLayout163.xml"/><Relationship Id="rId3" Type="http://schemas.openxmlformats.org/officeDocument/2006/relationships/slideLayout" Target="../slideLayouts/slideLayout140.xml"/><Relationship Id="rId21" Type="http://schemas.openxmlformats.org/officeDocument/2006/relationships/slideLayout" Target="../slideLayouts/slideLayout158.xml"/><Relationship Id="rId7" Type="http://schemas.openxmlformats.org/officeDocument/2006/relationships/slideLayout" Target="../slideLayouts/slideLayout144.xml"/><Relationship Id="rId12" Type="http://schemas.openxmlformats.org/officeDocument/2006/relationships/slideLayout" Target="../slideLayouts/slideLayout149.xml"/><Relationship Id="rId17" Type="http://schemas.openxmlformats.org/officeDocument/2006/relationships/slideLayout" Target="../slideLayouts/slideLayout154.xml"/><Relationship Id="rId25" Type="http://schemas.openxmlformats.org/officeDocument/2006/relationships/slideLayout" Target="../slideLayouts/slideLayout162.xml"/><Relationship Id="rId33" Type="http://schemas.openxmlformats.org/officeDocument/2006/relationships/image" Target="../media/image14.emf"/><Relationship Id="rId2" Type="http://schemas.openxmlformats.org/officeDocument/2006/relationships/slideLayout" Target="../slideLayouts/slideLayout139.xml"/><Relationship Id="rId16" Type="http://schemas.openxmlformats.org/officeDocument/2006/relationships/slideLayout" Target="../slideLayouts/slideLayout153.xml"/><Relationship Id="rId20" Type="http://schemas.openxmlformats.org/officeDocument/2006/relationships/slideLayout" Target="../slideLayouts/slideLayout157.xml"/><Relationship Id="rId29" Type="http://schemas.openxmlformats.org/officeDocument/2006/relationships/vmlDrawing" Target="../drawings/vmlDrawing6.v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24" Type="http://schemas.openxmlformats.org/officeDocument/2006/relationships/slideLayout" Target="../slideLayouts/slideLayout161.xml"/><Relationship Id="rId32" Type="http://schemas.openxmlformats.org/officeDocument/2006/relationships/image" Target="../media/image13.emf"/><Relationship Id="rId5" Type="http://schemas.openxmlformats.org/officeDocument/2006/relationships/slideLayout" Target="../slideLayouts/slideLayout142.xml"/><Relationship Id="rId15" Type="http://schemas.openxmlformats.org/officeDocument/2006/relationships/slideLayout" Target="../slideLayouts/slideLayout152.xml"/><Relationship Id="rId23" Type="http://schemas.openxmlformats.org/officeDocument/2006/relationships/slideLayout" Target="../slideLayouts/slideLayout160.xml"/><Relationship Id="rId28" Type="http://schemas.openxmlformats.org/officeDocument/2006/relationships/theme" Target="../theme/theme6.xml"/><Relationship Id="rId10" Type="http://schemas.openxmlformats.org/officeDocument/2006/relationships/slideLayout" Target="../slideLayouts/slideLayout147.xml"/><Relationship Id="rId19" Type="http://schemas.openxmlformats.org/officeDocument/2006/relationships/slideLayout" Target="../slideLayouts/slideLayout156.xml"/><Relationship Id="rId31" Type="http://schemas.openxmlformats.org/officeDocument/2006/relationships/oleObject" Target="../embeddings/oleObject6.bin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slideLayout" Target="../slideLayouts/slideLayout151.xml"/><Relationship Id="rId22" Type="http://schemas.openxmlformats.org/officeDocument/2006/relationships/slideLayout" Target="../slideLayouts/slideLayout159.xml"/><Relationship Id="rId27" Type="http://schemas.openxmlformats.org/officeDocument/2006/relationships/slideLayout" Target="../slideLayouts/slideLayout164.xml"/><Relationship Id="rId30" Type="http://schemas.openxmlformats.org/officeDocument/2006/relationships/tags" Target="../tags/tag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2.xml"/><Relationship Id="rId13" Type="http://schemas.openxmlformats.org/officeDocument/2006/relationships/slideLayout" Target="../slideLayouts/slideLayout177.xml"/><Relationship Id="rId18" Type="http://schemas.openxmlformats.org/officeDocument/2006/relationships/slideLayout" Target="../slideLayouts/slideLayout182.xml"/><Relationship Id="rId26" Type="http://schemas.openxmlformats.org/officeDocument/2006/relationships/slideLayout" Target="../slideLayouts/slideLayout190.xml"/><Relationship Id="rId3" Type="http://schemas.openxmlformats.org/officeDocument/2006/relationships/slideLayout" Target="../slideLayouts/slideLayout167.xml"/><Relationship Id="rId21" Type="http://schemas.openxmlformats.org/officeDocument/2006/relationships/slideLayout" Target="../slideLayouts/slideLayout185.xml"/><Relationship Id="rId7" Type="http://schemas.openxmlformats.org/officeDocument/2006/relationships/slideLayout" Target="../slideLayouts/slideLayout171.xml"/><Relationship Id="rId12" Type="http://schemas.openxmlformats.org/officeDocument/2006/relationships/slideLayout" Target="../slideLayouts/slideLayout176.xml"/><Relationship Id="rId17" Type="http://schemas.openxmlformats.org/officeDocument/2006/relationships/slideLayout" Target="../slideLayouts/slideLayout181.xml"/><Relationship Id="rId25" Type="http://schemas.openxmlformats.org/officeDocument/2006/relationships/slideLayout" Target="../slideLayouts/slideLayout189.xml"/><Relationship Id="rId2" Type="http://schemas.openxmlformats.org/officeDocument/2006/relationships/slideLayout" Target="../slideLayouts/slideLayout166.xml"/><Relationship Id="rId16" Type="http://schemas.openxmlformats.org/officeDocument/2006/relationships/slideLayout" Target="../slideLayouts/slideLayout180.xml"/><Relationship Id="rId20" Type="http://schemas.openxmlformats.org/officeDocument/2006/relationships/slideLayout" Target="../slideLayouts/slideLayout184.xml"/><Relationship Id="rId29" Type="http://schemas.openxmlformats.org/officeDocument/2006/relationships/image" Target="../media/image14.emf"/><Relationship Id="rId1" Type="http://schemas.openxmlformats.org/officeDocument/2006/relationships/slideLayout" Target="../slideLayouts/slideLayout165.xml"/><Relationship Id="rId6" Type="http://schemas.openxmlformats.org/officeDocument/2006/relationships/slideLayout" Target="../slideLayouts/slideLayout170.xml"/><Relationship Id="rId11" Type="http://schemas.openxmlformats.org/officeDocument/2006/relationships/slideLayout" Target="../slideLayouts/slideLayout175.xml"/><Relationship Id="rId24" Type="http://schemas.openxmlformats.org/officeDocument/2006/relationships/slideLayout" Target="../slideLayouts/slideLayout188.xml"/><Relationship Id="rId5" Type="http://schemas.openxmlformats.org/officeDocument/2006/relationships/slideLayout" Target="../slideLayouts/slideLayout169.xml"/><Relationship Id="rId15" Type="http://schemas.openxmlformats.org/officeDocument/2006/relationships/slideLayout" Target="../slideLayouts/slideLayout179.xml"/><Relationship Id="rId23" Type="http://schemas.openxmlformats.org/officeDocument/2006/relationships/slideLayout" Target="../slideLayouts/slideLayout187.xml"/><Relationship Id="rId28" Type="http://schemas.openxmlformats.org/officeDocument/2006/relationships/theme" Target="../theme/theme7.xml"/><Relationship Id="rId10" Type="http://schemas.openxmlformats.org/officeDocument/2006/relationships/slideLayout" Target="../slideLayouts/slideLayout174.xml"/><Relationship Id="rId19" Type="http://schemas.openxmlformats.org/officeDocument/2006/relationships/slideLayout" Target="../slideLayouts/slideLayout183.xml"/><Relationship Id="rId4" Type="http://schemas.openxmlformats.org/officeDocument/2006/relationships/slideLayout" Target="../slideLayouts/slideLayout168.xml"/><Relationship Id="rId9" Type="http://schemas.openxmlformats.org/officeDocument/2006/relationships/slideLayout" Target="../slideLayouts/slideLayout173.xml"/><Relationship Id="rId14" Type="http://schemas.openxmlformats.org/officeDocument/2006/relationships/slideLayout" Target="../slideLayouts/slideLayout178.xml"/><Relationship Id="rId22" Type="http://schemas.openxmlformats.org/officeDocument/2006/relationships/slideLayout" Target="../slideLayouts/slideLayout186.xml"/><Relationship Id="rId27" Type="http://schemas.openxmlformats.org/officeDocument/2006/relationships/slideLayout" Target="../slideLayouts/slideLayout19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9.xml"/><Relationship Id="rId13" Type="http://schemas.openxmlformats.org/officeDocument/2006/relationships/slideLayout" Target="../slideLayouts/slideLayout204.xml"/><Relationship Id="rId18" Type="http://schemas.openxmlformats.org/officeDocument/2006/relationships/slideLayout" Target="../slideLayouts/slideLayout209.xml"/><Relationship Id="rId26" Type="http://schemas.openxmlformats.org/officeDocument/2006/relationships/slideLayout" Target="../slideLayouts/slideLayout217.xml"/><Relationship Id="rId3" Type="http://schemas.openxmlformats.org/officeDocument/2006/relationships/slideLayout" Target="../slideLayouts/slideLayout194.xml"/><Relationship Id="rId21" Type="http://schemas.openxmlformats.org/officeDocument/2006/relationships/slideLayout" Target="../slideLayouts/slideLayout212.xml"/><Relationship Id="rId7" Type="http://schemas.openxmlformats.org/officeDocument/2006/relationships/slideLayout" Target="../slideLayouts/slideLayout198.xml"/><Relationship Id="rId12" Type="http://schemas.openxmlformats.org/officeDocument/2006/relationships/slideLayout" Target="../slideLayouts/slideLayout203.xml"/><Relationship Id="rId17" Type="http://schemas.openxmlformats.org/officeDocument/2006/relationships/slideLayout" Target="../slideLayouts/slideLayout208.xml"/><Relationship Id="rId25" Type="http://schemas.openxmlformats.org/officeDocument/2006/relationships/slideLayout" Target="../slideLayouts/slideLayout216.xml"/><Relationship Id="rId33" Type="http://schemas.openxmlformats.org/officeDocument/2006/relationships/image" Target="../media/image14.emf"/><Relationship Id="rId2" Type="http://schemas.openxmlformats.org/officeDocument/2006/relationships/slideLayout" Target="../slideLayouts/slideLayout193.xml"/><Relationship Id="rId16" Type="http://schemas.openxmlformats.org/officeDocument/2006/relationships/slideLayout" Target="../slideLayouts/slideLayout207.xml"/><Relationship Id="rId20" Type="http://schemas.openxmlformats.org/officeDocument/2006/relationships/slideLayout" Target="../slideLayouts/slideLayout211.xml"/><Relationship Id="rId29" Type="http://schemas.openxmlformats.org/officeDocument/2006/relationships/vmlDrawing" Target="../drawings/vmlDrawing8.vml"/><Relationship Id="rId1" Type="http://schemas.openxmlformats.org/officeDocument/2006/relationships/slideLayout" Target="../slideLayouts/slideLayout192.xml"/><Relationship Id="rId6" Type="http://schemas.openxmlformats.org/officeDocument/2006/relationships/slideLayout" Target="../slideLayouts/slideLayout197.xml"/><Relationship Id="rId11" Type="http://schemas.openxmlformats.org/officeDocument/2006/relationships/slideLayout" Target="../slideLayouts/slideLayout202.xml"/><Relationship Id="rId24" Type="http://schemas.openxmlformats.org/officeDocument/2006/relationships/slideLayout" Target="../slideLayouts/slideLayout215.xml"/><Relationship Id="rId32" Type="http://schemas.openxmlformats.org/officeDocument/2006/relationships/image" Target="../media/image15.emf"/><Relationship Id="rId5" Type="http://schemas.openxmlformats.org/officeDocument/2006/relationships/slideLayout" Target="../slideLayouts/slideLayout196.xml"/><Relationship Id="rId15" Type="http://schemas.openxmlformats.org/officeDocument/2006/relationships/slideLayout" Target="../slideLayouts/slideLayout206.xml"/><Relationship Id="rId23" Type="http://schemas.openxmlformats.org/officeDocument/2006/relationships/slideLayout" Target="../slideLayouts/slideLayout214.xml"/><Relationship Id="rId28" Type="http://schemas.openxmlformats.org/officeDocument/2006/relationships/theme" Target="../theme/theme8.xml"/><Relationship Id="rId10" Type="http://schemas.openxmlformats.org/officeDocument/2006/relationships/slideLayout" Target="../slideLayouts/slideLayout201.xml"/><Relationship Id="rId19" Type="http://schemas.openxmlformats.org/officeDocument/2006/relationships/slideLayout" Target="../slideLayouts/slideLayout210.xml"/><Relationship Id="rId31" Type="http://schemas.openxmlformats.org/officeDocument/2006/relationships/oleObject" Target="../embeddings/oleObject8.bin"/><Relationship Id="rId4" Type="http://schemas.openxmlformats.org/officeDocument/2006/relationships/slideLayout" Target="../slideLayouts/slideLayout195.xml"/><Relationship Id="rId9" Type="http://schemas.openxmlformats.org/officeDocument/2006/relationships/slideLayout" Target="../slideLayouts/slideLayout200.xml"/><Relationship Id="rId14" Type="http://schemas.openxmlformats.org/officeDocument/2006/relationships/slideLayout" Target="../slideLayouts/slideLayout205.xml"/><Relationship Id="rId22" Type="http://schemas.openxmlformats.org/officeDocument/2006/relationships/slideLayout" Target="../slideLayouts/slideLayout213.xml"/><Relationship Id="rId27" Type="http://schemas.openxmlformats.org/officeDocument/2006/relationships/slideLayout" Target="../slideLayouts/slideLayout218.xml"/><Relationship Id="rId30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5288" y="368300"/>
            <a:ext cx="11404600" cy="10064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5082" y="1512887"/>
            <a:ext cx="11404801" cy="49149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Insert text in CorpoS (Body), 20 pt. // for bullets: Home // Paragraph// Increase List Level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7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r>
              <a:rPr lang="en-US" noProof="0" smtClean="0"/>
              <a:t>Presentation title in CorpoS (Body) 10 pt. | Department | Date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83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99"/>
            </a:lvl2pPr>
            <a:lvl3pPr marL="0" indent="0" algn="l">
              <a:spcBef>
                <a:spcPts val="0"/>
              </a:spcBef>
              <a:defRPr sz="999"/>
            </a:lvl3pPr>
            <a:lvl4pPr marL="0" indent="0" algn="l">
              <a:spcBef>
                <a:spcPts val="0"/>
              </a:spcBef>
              <a:defRPr sz="999"/>
            </a:lvl4pPr>
            <a:lvl5pPr marL="0" indent="0" algn="l">
              <a:spcBef>
                <a:spcPts val="0"/>
              </a:spcBef>
              <a:defRPr sz="999"/>
            </a:lvl5pPr>
            <a:lvl6pPr marL="0" indent="0" algn="l">
              <a:spcBef>
                <a:spcPts val="0"/>
              </a:spcBef>
              <a:defRPr sz="999"/>
            </a:lvl6pPr>
            <a:lvl7pPr marL="0" indent="0" algn="l">
              <a:spcBef>
                <a:spcPts val="0"/>
              </a:spcBef>
              <a:defRPr sz="999"/>
            </a:lvl7pPr>
            <a:lvl8pPr marL="0" indent="0" algn="l">
              <a:spcBef>
                <a:spcPts val="0"/>
              </a:spcBef>
              <a:defRPr sz="999"/>
            </a:lvl8pPr>
            <a:lvl9pPr marL="0" indent="0" algn="l">
              <a:spcBef>
                <a:spcPts val="0"/>
              </a:spcBef>
              <a:defRPr sz="999"/>
            </a:lvl9pPr>
          </a:lstStyle>
          <a:p>
            <a:fld id="{AD1D1349-391B-44DC-865F-5996B3E40F2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9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395795" y="6613944"/>
            <a:ext cx="1188000" cy="148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499862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743" r:id="rId2"/>
    <p:sldLayoutId id="2147483744" r:id="rId3"/>
    <p:sldLayoutId id="2147483745" r:id="rId4"/>
    <p:sldLayoutId id="2147483746" r:id="rId5"/>
    <p:sldLayoutId id="2147483717" r:id="rId6"/>
    <p:sldLayoutId id="2147483660" r:id="rId7"/>
    <p:sldLayoutId id="2147483738" r:id="rId8"/>
    <p:sldLayoutId id="2147483731" r:id="rId9"/>
    <p:sldLayoutId id="2147483734" r:id="rId10"/>
    <p:sldLayoutId id="2147483721" r:id="rId11"/>
    <p:sldLayoutId id="2147483703" r:id="rId12"/>
    <p:sldLayoutId id="2147483704" r:id="rId13"/>
    <p:sldLayoutId id="2147483700" r:id="rId14"/>
    <p:sldLayoutId id="2147483679" r:id="rId15"/>
    <p:sldLayoutId id="2147483689" r:id="rId16"/>
    <p:sldLayoutId id="2147483692" r:id="rId17"/>
    <p:sldLayoutId id="2147483694" r:id="rId18"/>
    <p:sldLayoutId id="2147483680" r:id="rId19"/>
    <p:sldLayoutId id="2147483707" r:id="rId20"/>
    <p:sldLayoutId id="2147483683" r:id="rId21"/>
    <p:sldLayoutId id="2147483684" r:id="rId22"/>
    <p:sldLayoutId id="2147483711" r:id="rId23"/>
    <p:sldLayoutId id="2147483712" r:id="rId24"/>
    <p:sldLayoutId id="2147483698" r:id="rId25"/>
    <p:sldLayoutId id="2147483729" r:id="rId26"/>
    <p:sldLayoutId id="2147483727" r:id="rId27"/>
    <p:sldLayoutId id="2147483728" r:id="rId28"/>
    <p:sldLayoutId id="2147483682" r:id="rId29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913814" rtl="0" eaLnBrk="1" latinLnBrk="0" hangingPunct="1">
        <a:spcBef>
          <a:spcPts val="0"/>
        </a:spcBef>
        <a:buFont typeface="+mj-lt"/>
        <a:buNone/>
        <a:defRPr sz="2999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814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+mj-lt"/>
        <a:buNone/>
        <a:defRPr sz="1999" b="0" i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41781" indent="-341781" algn="l" defTabSz="913814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anose="020B0604020202020204" pitchFamily="34" charset="0"/>
        <a:buChar char="•"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738000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738000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738000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738000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738000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738000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14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8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535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443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349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25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34334489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0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 bwMode="black">
          <a:xfrm>
            <a:off x="396000" y="368300"/>
            <a:ext cx="11403888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Headline on two lines in CorpoA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amet.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 bwMode="black">
          <a:xfrm>
            <a:off x="396000" y="1512889"/>
            <a:ext cx="11403888" cy="49148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smtClean="0"/>
              <a:t>CorpoS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26" name="Fußzeilenplatzhalter 4"/>
          <p:cNvSpPr>
            <a:spLocks noGrp="1"/>
          </p:cNvSpPr>
          <p:nvPr userDrawn="1"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r>
              <a:rPr lang="en-US" smtClean="0"/>
              <a:t>Presentation title in CorpoS (Body) 10 pt. | Department | Date</a:t>
            </a:r>
            <a:endParaRPr lang="en-US" dirty="0"/>
          </a:p>
        </p:txBody>
      </p:sp>
      <p:sp>
        <p:nvSpPr>
          <p:cNvPr id="27" name="Foliennummernplatzhalter 5"/>
          <p:cNvSpPr>
            <a:spLocks noGrp="1"/>
          </p:cNvSpPr>
          <p:nvPr userDrawn="1">
            <p:ph type="sldNum" sz="quarter" idx="4"/>
          </p:nvPr>
        </p:nvSpPr>
        <p:spPr bwMode="black">
          <a:xfrm>
            <a:off x="11484000" y="6552000"/>
            <a:ext cx="32383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99"/>
            </a:lvl2pPr>
            <a:lvl3pPr marL="0" indent="0" algn="l">
              <a:spcBef>
                <a:spcPts val="0"/>
              </a:spcBef>
              <a:defRPr sz="999"/>
            </a:lvl3pPr>
            <a:lvl4pPr marL="0" indent="0" algn="l">
              <a:spcBef>
                <a:spcPts val="0"/>
              </a:spcBef>
              <a:defRPr sz="999"/>
            </a:lvl4pPr>
            <a:lvl5pPr marL="0" indent="0" algn="l">
              <a:spcBef>
                <a:spcPts val="0"/>
              </a:spcBef>
              <a:defRPr sz="999"/>
            </a:lvl5pPr>
            <a:lvl6pPr marL="0" indent="0" algn="l">
              <a:spcBef>
                <a:spcPts val="0"/>
              </a:spcBef>
              <a:defRPr sz="999"/>
            </a:lvl6pPr>
            <a:lvl7pPr marL="0" indent="0" algn="l">
              <a:spcBef>
                <a:spcPts val="0"/>
              </a:spcBef>
              <a:defRPr sz="999"/>
            </a:lvl7pPr>
            <a:lvl8pPr marL="0" indent="0" algn="l">
              <a:spcBef>
                <a:spcPts val="0"/>
              </a:spcBef>
              <a:defRPr sz="999"/>
            </a:lvl8pPr>
            <a:lvl9pPr marL="0" indent="0" algn="l">
              <a:spcBef>
                <a:spcPts val="0"/>
              </a:spcBef>
              <a:defRPr sz="999"/>
            </a:lvl9pPr>
          </a:lstStyle>
          <a:p>
            <a:fld id="{AD1D1349-391B-44DC-865F-5996B3E40F2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9" name="Wortmarke Mercedes-Benz"/>
          <p:cNvPicPr>
            <a:picLocks noChangeAspect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96000" y="6613200"/>
            <a:ext cx="1188000" cy="148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275680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3" r:id="rId1"/>
    <p:sldLayoutId id="2147483739" r:id="rId2"/>
    <p:sldLayoutId id="2147483740" r:id="rId3"/>
    <p:sldLayoutId id="2147483741" r:id="rId4"/>
    <p:sldLayoutId id="2147483742" r:id="rId5"/>
    <p:sldLayoutId id="2147483719" r:id="rId6"/>
    <p:sldLayoutId id="2147483664" r:id="rId7"/>
    <p:sldLayoutId id="2147483737" r:id="rId8"/>
    <p:sldLayoutId id="2147483735" r:id="rId9"/>
    <p:sldLayoutId id="2147483736" r:id="rId10"/>
    <p:sldLayoutId id="2147483722" r:id="rId11"/>
    <p:sldLayoutId id="2147483705" r:id="rId12"/>
    <p:sldLayoutId id="2147483706" r:id="rId13"/>
    <p:sldLayoutId id="2147483701" r:id="rId14"/>
    <p:sldLayoutId id="2147483702" r:id="rId15"/>
    <p:sldLayoutId id="2147483691" r:id="rId16"/>
    <p:sldLayoutId id="2147483693" r:id="rId17"/>
    <p:sldLayoutId id="2147483695" r:id="rId18"/>
    <p:sldLayoutId id="2147483685" r:id="rId19"/>
    <p:sldLayoutId id="2147483708" r:id="rId20"/>
    <p:sldLayoutId id="2147483686" r:id="rId21"/>
    <p:sldLayoutId id="2147483687" r:id="rId22"/>
    <p:sldLayoutId id="2147483715" r:id="rId23"/>
    <p:sldLayoutId id="2147483716" r:id="rId24"/>
    <p:sldLayoutId id="2147483730" r:id="rId25"/>
    <p:sldLayoutId id="2147483723" r:id="rId26"/>
    <p:sldLayoutId id="2147483676" r:id="rId27"/>
    <p:sldLayoutId id="2147483677" r:id="rId28"/>
    <p:sldLayoutId id="2147483724" r:id="rId29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913814" rtl="0" eaLnBrk="1" latinLnBrk="0" hangingPunct="1">
        <a:spcBef>
          <a:spcPts val="0"/>
        </a:spcBef>
        <a:buFont typeface="+mj-lt"/>
        <a:buNone/>
        <a:defRPr sz="2999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814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+mj-lt"/>
        <a:buNone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781" indent="-341781" algn="l" defTabSz="913814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Arial" panose="020B0604020202020204" pitchFamily="34" charset="0"/>
        <a:buChar char="•"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738000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738000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738000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738000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738000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738000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8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14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8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535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443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349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25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3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8" name="17,85 // 8,32"/>
          <p:cNvCxnSpPr/>
          <p:nvPr userDrawn="1"/>
        </p:nvCxnSpPr>
        <p:spPr bwMode="black">
          <a:xfrm>
            <a:off x="-467757" y="64261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 bwMode="black"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 bwMode="black">
          <a:xfrm>
            <a:off x="395082" y="1511300"/>
            <a:ext cx="11404800" cy="49965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26" name="Fußzeilenplatzhalter 4"/>
          <p:cNvSpPr>
            <a:spLocks noGrp="1"/>
          </p:cNvSpPr>
          <p:nvPr userDrawn="1">
            <p:ph type="ftr" sz="quarter" idx="3"/>
          </p:nvPr>
        </p:nvSpPr>
        <p:spPr bwMode="black"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 userDrawn="1">
            <p:ph type="sldNum" sz="quarter" idx="4"/>
          </p:nvPr>
        </p:nvSpPr>
        <p:spPr bwMode="black">
          <a:xfrm>
            <a:off x="11794659" y="6552000"/>
            <a:ext cx="32383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99"/>
            </a:lvl2pPr>
            <a:lvl3pPr marL="0" indent="0" algn="l">
              <a:spcBef>
                <a:spcPts val="0"/>
              </a:spcBef>
              <a:defRPr sz="999"/>
            </a:lvl3pPr>
            <a:lvl4pPr marL="0" indent="0" algn="l">
              <a:spcBef>
                <a:spcPts val="0"/>
              </a:spcBef>
              <a:defRPr sz="999"/>
            </a:lvl4pPr>
            <a:lvl5pPr marL="0" indent="0" algn="l">
              <a:spcBef>
                <a:spcPts val="0"/>
              </a:spcBef>
              <a:defRPr sz="999"/>
            </a:lvl5pPr>
            <a:lvl6pPr marL="0" indent="0" algn="l">
              <a:spcBef>
                <a:spcPts val="0"/>
              </a:spcBef>
              <a:defRPr sz="999"/>
            </a:lvl6pPr>
            <a:lvl7pPr marL="0" indent="0" algn="l">
              <a:spcBef>
                <a:spcPts val="0"/>
              </a:spcBef>
              <a:defRPr sz="999"/>
            </a:lvl7pPr>
            <a:lvl8pPr marL="0" indent="0" algn="l">
              <a:spcBef>
                <a:spcPts val="0"/>
              </a:spcBef>
              <a:defRPr sz="999"/>
            </a:lvl8pPr>
            <a:lvl9pPr marL="0" indent="0" algn="l">
              <a:spcBef>
                <a:spcPts val="0"/>
              </a:spcBef>
              <a:defRPr sz="999"/>
            </a:lvl9pPr>
          </a:lstStyle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2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58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0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Wortmarke Mercedes-Benz"/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96000" y="6613200"/>
            <a:ext cx="1188000" cy="148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0774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  <p:sldLayoutId id="2147483759" r:id="rId12"/>
    <p:sldLayoutId id="2147483760" r:id="rId13"/>
    <p:sldLayoutId id="2147483761" r:id="rId14"/>
    <p:sldLayoutId id="2147483762" r:id="rId15"/>
    <p:sldLayoutId id="2147483763" r:id="rId16"/>
    <p:sldLayoutId id="2147483764" r:id="rId17"/>
    <p:sldLayoutId id="2147483765" r:id="rId18"/>
    <p:sldLayoutId id="2147483766" r:id="rId19"/>
    <p:sldLayoutId id="2147483767" r:id="rId20"/>
    <p:sldLayoutId id="2147483768" r:id="rId21"/>
    <p:sldLayoutId id="2147483769" r:id="rId22"/>
    <p:sldLayoutId id="2147483770" r:id="rId23"/>
    <p:sldLayoutId id="2147483771" r:id="rId24"/>
    <p:sldLayoutId id="2147483772" r:id="rId25"/>
    <p:sldLayoutId id="2147483773" r:id="rId26"/>
    <p:sldLayoutId id="2147483774" r:id="rId27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913814" rtl="0" eaLnBrk="1" latinLnBrk="0" hangingPunct="1">
        <a:spcBef>
          <a:spcPts val="0"/>
        </a:spcBef>
        <a:buFont typeface="+mj-lt"/>
        <a:buNone/>
        <a:defRPr sz="2999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781" indent="-341781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14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8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535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443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349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25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7" name="think-cell Slide" r:id="rId30" imgW="270" imgH="270" progId="TCLayout.ActiveDocument.1">
                  <p:embed/>
                </p:oleObj>
              </mc:Choice>
              <mc:Fallback>
                <p:oleObj name="think-cell Slid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8" name="17,85 // 8,32"/>
          <p:cNvCxnSpPr/>
          <p:nvPr userDrawn="1"/>
        </p:nvCxnSpPr>
        <p:spPr bwMode="black">
          <a:xfrm>
            <a:off x="-467757" y="64261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 bwMode="black"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 bwMode="black">
          <a:xfrm>
            <a:off x="395082" y="1511300"/>
            <a:ext cx="11404800" cy="49965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26" name="Fußzeilenplatzhalter 4"/>
          <p:cNvSpPr>
            <a:spLocks noGrp="1"/>
          </p:cNvSpPr>
          <p:nvPr userDrawn="1">
            <p:ph type="ftr" sz="quarter" idx="3"/>
          </p:nvPr>
        </p:nvSpPr>
        <p:spPr bwMode="black"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 userDrawn="1">
            <p:ph type="sldNum" sz="quarter" idx="4"/>
          </p:nvPr>
        </p:nvSpPr>
        <p:spPr bwMode="black">
          <a:xfrm>
            <a:off x="11794659" y="6552000"/>
            <a:ext cx="32383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99"/>
            </a:lvl2pPr>
            <a:lvl3pPr marL="0" indent="0" algn="l">
              <a:spcBef>
                <a:spcPts val="0"/>
              </a:spcBef>
              <a:defRPr sz="999"/>
            </a:lvl3pPr>
            <a:lvl4pPr marL="0" indent="0" algn="l">
              <a:spcBef>
                <a:spcPts val="0"/>
              </a:spcBef>
              <a:defRPr sz="999"/>
            </a:lvl4pPr>
            <a:lvl5pPr marL="0" indent="0" algn="l">
              <a:spcBef>
                <a:spcPts val="0"/>
              </a:spcBef>
              <a:defRPr sz="999"/>
            </a:lvl5pPr>
            <a:lvl6pPr marL="0" indent="0" algn="l">
              <a:spcBef>
                <a:spcPts val="0"/>
              </a:spcBef>
              <a:defRPr sz="999"/>
            </a:lvl6pPr>
            <a:lvl7pPr marL="0" indent="0" algn="l">
              <a:spcBef>
                <a:spcPts val="0"/>
              </a:spcBef>
              <a:defRPr sz="999"/>
            </a:lvl7pPr>
            <a:lvl8pPr marL="0" indent="0" algn="l">
              <a:spcBef>
                <a:spcPts val="0"/>
              </a:spcBef>
              <a:defRPr sz="999"/>
            </a:lvl8pPr>
            <a:lvl9pPr marL="0" indent="0" algn="l">
              <a:spcBef>
                <a:spcPts val="0"/>
              </a:spcBef>
              <a:defRPr sz="999"/>
            </a:lvl9pPr>
          </a:lstStyle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2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58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0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Wortmarke Mercedes-Benz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96000" y="6613200"/>
            <a:ext cx="1188000" cy="148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67564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8" r:id="rId13"/>
    <p:sldLayoutId id="2147483789" r:id="rId14"/>
    <p:sldLayoutId id="2147483790" r:id="rId15"/>
    <p:sldLayoutId id="2147483791" r:id="rId16"/>
    <p:sldLayoutId id="2147483792" r:id="rId17"/>
    <p:sldLayoutId id="2147483793" r:id="rId18"/>
    <p:sldLayoutId id="2147483794" r:id="rId19"/>
    <p:sldLayoutId id="2147483795" r:id="rId20"/>
    <p:sldLayoutId id="2147483796" r:id="rId21"/>
    <p:sldLayoutId id="2147483797" r:id="rId22"/>
    <p:sldLayoutId id="2147483798" r:id="rId23"/>
    <p:sldLayoutId id="2147483799" r:id="rId24"/>
    <p:sldLayoutId id="2147483800" r:id="rId25"/>
    <p:sldLayoutId id="2147483801" r:id="rId26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913814" rtl="0" eaLnBrk="1" latinLnBrk="0" hangingPunct="1">
        <a:spcBef>
          <a:spcPts val="0"/>
        </a:spcBef>
        <a:buFont typeface="+mj-lt"/>
        <a:buNone/>
        <a:defRPr sz="2999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781" indent="-341781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14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8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535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443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349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25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8" name="17,85 // 8,32"/>
          <p:cNvCxnSpPr/>
          <p:nvPr/>
        </p:nvCxnSpPr>
        <p:spPr bwMode="black">
          <a:xfrm>
            <a:off x="-467757" y="64261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black"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black">
          <a:xfrm>
            <a:off x="395082" y="1511300"/>
            <a:ext cx="11404800" cy="49965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794659" y="6552000"/>
            <a:ext cx="32383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99"/>
            </a:lvl2pPr>
            <a:lvl3pPr marL="0" indent="0" algn="l">
              <a:spcBef>
                <a:spcPts val="0"/>
              </a:spcBef>
              <a:defRPr sz="999"/>
            </a:lvl3pPr>
            <a:lvl4pPr marL="0" indent="0" algn="l">
              <a:spcBef>
                <a:spcPts val="0"/>
              </a:spcBef>
              <a:defRPr sz="999"/>
            </a:lvl4pPr>
            <a:lvl5pPr marL="0" indent="0" algn="l">
              <a:spcBef>
                <a:spcPts val="0"/>
              </a:spcBef>
              <a:defRPr sz="999"/>
            </a:lvl5pPr>
            <a:lvl6pPr marL="0" indent="0" algn="l">
              <a:spcBef>
                <a:spcPts val="0"/>
              </a:spcBef>
              <a:defRPr sz="999"/>
            </a:lvl6pPr>
            <a:lvl7pPr marL="0" indent="0" algn="l">
              <a:spcBef>
                <a:spcPts val="0"/>
              </a:spcBef>
              <a:defRPr sz="999"/>
            </a:lvl7pPr>
            <a:lvl8pPr marL="0" indent="0" algn="l">
              <a:spcBef>
                <a:spcPts val="0"/>
              </a:spcBef>
              <a:defRPr sz="999"/>
            </a:lvl8pPr>
            <a:lvl9pPr marL="0" indent="0" algn="l">
              <a:spcBef>
                <a:spcPts val="0"/>
              </a:spcBef>
              <a:defRPr sz="999"/>
            </a:lvl9pPr>
          </a:lstStyle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2" name="Hinweis oben"/>
          <p:cNvGrpSpPr/>
          <p:nvPr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58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0" name="32,78 // 15,84"/>
          <p:cNvCxnSpPr/>
          <p:nvPr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1,1 // 15,84"/>
          <p:cNvCxnSpPr/>
          <p:nvPr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17,85 // 8,32"/>
          <p:cNvCxnSpPr/>
          <p:nvPr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4,2 // 5,33"/>
          <p:cNvCxnSpPr/>
          <p:nvPr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1,02 // 8,5"/>
          <p:cNvCxnSpPr/>
          <p:nvPr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17,85 // 8,32"/>
          <p:cNvCxnSpPr/>
          <p:nvPr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4,2 // 5,33"/>
          <p:cNvCxnSpPr/>
          <p:nvPr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1,02 // 8,5"/>
          <p:cNvCxnSpPr/>
          <p:nvPr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Wortmarke Mercedes-Benz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96000" y="6613200"/>
            <a:ext cx="1188000" cy="148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69985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  <p:sldLayoutId id="2147483808" r:id="rId5"/>
    <p:sldLayoutId id="2147483809" r:id="rId6"/>
    <p:sldLayoutId id="2147483810" r:id="rId7"/>
    <p:sldLayoutId id="2147483811" r:id="rId8"/>
    <p:sldLayoutId id="2147483812" r:id="rId9"/>
    <p:sldLayoutId id="2147483813" r:id="rId10"/>
    <p:sldLayoutId id="2147483814" r:id="rId11"/>
    <p:sldLayoutId id="2147483815" r:id="rId12"/>
    <p:sldLayoutId id="2147483816" r:id="rId13"/>
    <p:sldLayoutId id="2147483817" r:id="rId14"/>
    <p:sldLayoutId id="2147483818" r:id="rId15"/>
    <p:sldLayoutId id="2147483819" r:id="rId16"/>
    <p:sldLayoutId id="2147483820" r:id="rId17"/>
    <p:sldLayoutId id="2147483821" r:id="rId18"/>
    <p:sldLayoutId id="2147483822" r:id="rId19"/>
    <p:sldLayoutId id="2147483823" r:id="rId20"/>
    <p:sldLayoutId id="2147483824" r:id="rId21"/>
    <p:sldLayoutId id="2147483825" r:id="rId22"/>
    <p:sldLayoutId id="2147483826" r:id="rId23"/>
    <p:sldLayoutId id="2147483827" r:id="rId24"/>
    <p:sldLayoutId id="2147483828" r:id="rId25"/>
    <p:sldLayoutId id="2147483829" r:id="rId26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913814" rtl="0" eaLnBrk="1" latinLnBrk="0" hangingPunct="1">
        <a:spcBef>
          <a:spcPts val="0"/>
        </a:spcBef>
        <a:buFont typeface="+mj-lt"/>
        <a:buNone/>
        <a:defRPr sz="2999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781" indent="-341781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14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8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535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443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349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25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4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8" name="17,85 // 8,32"/>
          <p:cNvCxnSpPr/>
          <p:nvPr userDrawn="1"/>
        </p:nvCxnSpPr>
        <p:spPr bwMode="black">
          <a:xfrm>
            <a:off x="-467757" y="64261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 bwMode="black"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 bwMode="black">
          <a:xfrm>
            <a:off x="395082" y="1511300"/>
            <a:ext cx="11404800" cy="49965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26" name="Fußzeilenplatzhalter 4"/>
          <p:cNvSpPr>
            <a:spLocks noGrp="1"/>
          </p:cNvSpPr>
          <p:nvPr userDrawn="1">
            <p:ph type="ftr" sz="quarter" idx="3"/>
          </p:nvPr>
        </p:nvSpPr>
        <p:spPr bwMode="black"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 userDrawn="1">
            <p:ph type="sldNum" sz="quarter" idx="4"/>
          </p:nvPr>
        </p:nvSpPr>
        <p:spPr bwMode="black">
          <a:xfrm>
            <a:off x="11794659" y="6552000"/>
            <a:ext cx="32383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99"/>
            </a:lvl2pPr>
            <a:lvl3pPr marL="0" indent="0" algn="l">
              <a:spcBef>
                <a:spcPts val="0"/>
              </a:spcBef>
              <a:defRPr sz="999"/>
            </a:lvl3pPr>
            <a:lvl4pPr marL="0" indent="0" algn="l">
              <a:spcBef>
                <a:spcPts val="0"/>
              </a:spcBef>
              <a:defRPr sz="999"/>
            </a:lvl4pPr>
            <a:lvl5pPr marL="0" indent="0" algn="l">
              <a:spcBef>
                <a:spcPts val="0"/>
              </a:spcBef>
              <a:defRPr sz="999"/>
            </a:lvl5pPr>
            <a:lvl6pPr marL="0" indent="0" algn="l">
              <a:spcBef>
                <a:spcPts val="0"/>
              </a:spcBef>
              <a:defRPr sz="999"/>
            </a:lvl6pPr>
            <a:lvl7pPr marL="0" indent="0" algn="l">
              <a:spcBef>
                <a:spcPts val="0"/>
              </a:spcBef>
              <a:defRPr sz="999"/>
            </a:lvl7pPr>
            <a:lvl8pPr marL="0" indent="0" algn="l">
              <a:spcBef>
                <a:spcPts val="0"/>
              </a:spcBef>
              <a:defRPr sz="999"/>
            </a:lvl8pPr>
            <a:lvl9pPr marL="0" indent="0" algn="l">
              <a:spcBef>
                <a:spcPts val="0"/>
              </a:spcBef>
              <a:defRPr sz="999"/>
            </a:lvl9pPr>
          </a:lstStyle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2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58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0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Wortmarke Mercedes-Benz"/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96000" y="6613200"/>
            <a:ext cx="1188000" cy="148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296581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  <p:sldLayoutId id="2147483837" r:id="rId7"/>
    <p:sldLayoutId id="2147483838" r:id="rId8"/>
    <p:sldLayoutId id="2147483839" r:id="rId9"/>
    <p:sldLayoutId id="2147483840" r:id="rId10"/>
    <p:sldLayoutId id="2147483841" r:id="rId11"/>
    <p:sldLayoutId id="2147483842" r:id="rId12"/>
    <p:sldLayoutId id="2147483843" r:id="rId13"/>
    <p:sldLayoutId id="2147483844" r:id="rId14"/>
    <p:sldLayoutId id="2147483845" r:id="rId15"/>
    <p:sldLayoutId id="2147483846" r:id="rId16"/>
    <p:sldLayoutId id="2147483847" r:id="rId17"/>
    <p:sldLayoutId id="2147483848" r:id="rId18"/>
    <p:sldLayoutId id="2147483849" r:id="rId19"/>
    <p:sldLayoutId id="2147483850" r:id="rId20"/>
    <p:sldLayoutId id="2147483851" r:id="rId21"/>
    <p:sldLayoutId id="2147483852" r:id="rId22"/>
    <p:sldLayoutId id="2147483853" r:id="rId23"/>
    <p:sldLayoutId id="2147483854" r:id="rId24"/>
    <p:sldLayoutId id="2147483855" r:id="rId25"/>
    <p:sldLayoutId id="2147483856" r:id="rId26"/>
    <p:sldLayoutId id="2147483857" r:id="rId27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913814" rtl="0" eaLnBrk="1" latinLnBrk="0" hangingPunct="1">
        <a:spcBef>
          <a:spcPts val="0"/>
        </a:spcBef>
        <a:buFont typeface="+mj-lt"/>
        <a:buNone/>
        <a:defRPr sz="2999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781" indent="-341781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14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8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535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443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349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25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8" name="17,85 // 8,32"/>
          <p:cNvCxnSpPr/>
          <p:nvPr userDrawn="1"/>
        </p:nvCxnSpPr>
        <p:spPr bwMode="black">
          <a:xfrm>
            <a:off x="-467757" y="64261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 bwMode="black"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 bwMode="black">
          <a:xfrm>
            <a:off x="395082" y="1511300"/>
            <a:ext cx="11404800" cy="49965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26" name="Fußzeilenplatzhalter 4"/>
          <p:cNvSpPr>
            <a:spLocks noGrp="1"/>
          </p:cNvSpPr>
          <p:nvPr userDrawn="1">
            <p:ph type="ftr" sz="quarter" idx="3"/>
          </p:nvPr>
        </p:nvSpPr>
        <p:spPr bwMode="black"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 userDrawn="1">
            <p:ph type="sldNum" sz="quarter" idx="4"/>
          </p:nvPr>
        </p:nvSpPr>
        <p:spPr bwMode="black">
          <a:xfrm>
            <a:off x="11794659" y="6552000"/>
            <a:ext cx="32383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99"/>
            </a:lvl2pPr>
            <a:lvl3pPr marL="0" indent="0" algn="l">
              <a:spcBef>
                <a:spcPts val="0"/>
              </a:spcBef>
              <a:defRPr sz="999"/>
            </a:lvl3pPr>
            <a:lvl4pPr marL="0" indent="0" algn="l">
              <a:spcBef>
                <a:spcPts val="0"/>
              </a:spcBef>
              <a:defRPr sz="999"/>
            </a:lvl4pPr>
            <a:lvl5pPr marL="0" indent="0" algn="l">
              <a:spcBef>
                <a:spcPts val="0"/>
              </a:spcBef>
              <a:defRPr sz="999"/>
            </a:lvl5pPr>
            <a:lvl6pPr marL="0" indent="0" algn="l">
              <a:spcBef>
                <a:spcPts val="0"/>
              </a:spcBef>
              <a:defRPr sz="999"/>
            </a:lvl6pPr>
            <a:lvl7pPr marL="0" indent="0" algn="l">
              <a:spcBef>
                <a:spcPts val="0"/>
              </a:spcBef>
              <a:defRPr sz="999"/>
            </a:lvl7pPr>
            <a:lvl8pPr marL="0" indent="0" algn="l">
              <a:spcBef>
                <a:spcPts val="0"/>
              </a:spcBef>
              <a:defRPr sz="999"/>
            </a:lvl8pPr>
            <a:lvl9pPr marL="0" indent="0" algn="l">
              <a:spcBef>
                <a:spcPts val="0"/>
              </a:spcBef>
              <a:defRPr sz="999"/>
            </a:lvl9pPr>
          </a:lstStyle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2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58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0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Wortmarke Mercedes-Benz"/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96000" y="6613200"/>
            <a:ext cx="1188000" cy="148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25589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  <p:sldLayoutId id="2147483867" r:id="rId9"/>
    <p:sldLayoutId id="2147483868" r:id="rId10"/>
    <p:sldLayoutId id="2147483869" r:id="rId11"/>
    <p:sldLayoutId id="2147483870" r:id="rId12"/>
    <p:sldLayoutId id="2147483871" r:id="rId13"/>
    <p:sldLayoutId id="2147483872" r:id="rId14"/>
    <p:sldLayoutId id="2147483873" r:id="rId15"/>
    <p:sldLayoutId id="2147483874" r:id="rId16"/>
    <p:sldLayoutId id="2147483875" r:id="rId17"/>
    <p:sldLayoutId id="2147483876" r:id="rId18"/>
    <p:sldLayoutId id="2147483877" r:id="rId19"/>
    <p:sldLayoutId id="2147483878" r:id="rId20"/>
    <p:sldLayoutId id="2147483879" r:id="rId21"/>
    <p:sldLayoutId id="2147483880" r:id="rId22"/>
    <p:sldLayoutId id="2147483881" r:id="rId23"/>
    <p:sldLayoutId id="2147483882" r:id="rId24"/>
    <p:sldLayoutId id="2147483883" r:id="rId25"/>
    <p:sldLayoutId id="2147483884" r:id="rId26"/>
    <p:sldLayoutId id="2147483885" r:id="rId27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913814" rtl="0" eaLnBrk="1" latinLnBrk="0" hangingPunct="1">
        <a:spcBef>
          <a:spcPts val="0"/>
        </a:spcBef>
        <a:buFont typeface="+mj-lt"/>
        <a:buNone/>
        <a:defRPr sz="2999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781" indent="-341781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14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8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535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443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349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25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3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5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8" name="17,85 // 8,32"/>
          <p:cNvCxnSpPr/>
          <p:nvPr userDrawn="1"/>
        </p:nvCxnSpPr>
        <p:spPr bwMode="black">
          <a:xfrm>
            <a:off x="-467757" y="64261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 bwMode="black"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smtClean="0"/>
              <a:t>Headline on two lines in </a:t>
            </a:r>
            <a:r>
              <a:rPr lang="en-US" noProof="0" dirty="0" err="1" smtClean="0"/>
              <a:t>CorpoA</a:t>
            </a:r>
            <a:r>
              <a:rPr lang="en-US" noProof="0" dirty="0" smtClean="0"/>
              <a:t> (Headings) 30 pt. </a:t>
            </a:r>
            <a:br>
              <a:rPr lang="en-US" noProof="0" dirty="0" smtClean="0"/>
            </a:br>
            <a:r>
              <a:rPr lang="en-US" noProof="0" dirty="0" smtClean="0"/>
              <a:t>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.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 bwMode="black">
          <a:xfrm>
            <a:off x="395082" y="1511300"/>
            <a:ext cx="11404800" cy="49965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 smtClean="0"/>
              <a:t>Insert text in </a:t>
            </a:r>
            <a:r>
              <a:rPr lang="en-US" noProof="0" dirty="0" err="1" smtClean="0"/>
              <a:t>CorpoS</a:t>
            </a:r>
            <a:r>
              <a:rPr lang="en-US" noProof="0" dirty="0" smtClean="0"/>
              <a:t> (Body), 20 pt. </a:t>
            </a:r>
            <a:r>
              <a:rPr lang="en-US" dirty="0" smtClean="0"/>
              <a:t>// for bullets: Home // Paragraph// Increase/Decrease Li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</p:txBody>
      </p:sp>
      <p:sp>
        <p:nvSpPr>
          <p:cNvPr id="26" name="Fußzeilenplatzhalter 4"/>
          <p:cNvSpPr>
            <a:spLocks noGrp="1"/>
          </p:cNvSpPr>
          <p:nvPr userDrawn="1">
            <p:ph type="ftr" sz="quarter" idx="3"/>
          </p:nvPr>
        </p:nvSpPr>
        <p:spPr bwMode="black">
          <a:xfrm>
            <a:off x="3576536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r>
              <a:rPr lang="en-US" dirty="0" smtClean="0">
                <a:solidFill>
                  <a:prstClr val="white"/>
                </a:solidFill>
              </a:rPr>
              <a:t>Presentation title in CorpoS (Body) 10 pt | Department | Date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 userDrawn="1">
            <p:ph type="sldNum" sz="quarter" idx="4"/>
          </p:nvPr>
        </p:nvSpPr>
        <p:spPr bwMode="black">
          <a:xfrm>
            <a:off x="11794659" y="6552000"/>
            <a:ext cx="32383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99"/>
            </a:lvl2pPr>
            <a:lvl3pPr marL="0" indent="0" algn="l">
              <a:spcBef>
                <a:spcPts val="0"/>
              </a:spcBef>
              <a:defRPr sz="999"/>
            </a:lvl3pPr>
            <a:lvl4pPr marL="0" indent="0" algn="l">
              <a:spcBef>
                <a:spcPts val="0"/>
              </a:spcBef>
              <a:defRPr sz="999"/>
            </a:lvl4pPr>
            <a:lvl5pPr marL="0" indent="0" algn="l">
              <a:spcBef>
                <a:spcPts val="0"/>
              </a:spcBef>
              <a:defRPr sz="999"/>
            </a:lvl5pPr>
            <a:lvl6pPr marL="0" indent="0" algn="l">
              <a:spcBef>
                <a:spcPts val="0"/>
              </a:spcBef>
              <a:defRPr sz="999"/>
            </a:lvl6pPr>
            <a:lvl7pPr marL="0" indent="0" algn="l">
              <a:spcBef>
                <a:spcPts val="0"/>
              </a:spcBef>
              <a:defRPr sz="999"/>
            </a:lvl7pPr>
            <a:lvl8pPr marL="0" indent="0" algn="l">
              <a:spcBef>
                <a:spcPts val="0"/>
              </a:spcBef>
              <a:defRPr sz="999"/>
            </a:lvl8pPr>
            <a:lvl9pPr marL="0" indent="0" algn="l">
              <a:spcBef>
                <a:spcPts val="0"/>
              </a:spcBef>
              <a:defRPr sz="999"/>
            </a:lvl9pPr>
          </a:lstStyle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2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58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0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Wortmarke Mercedes-Benz"/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396000" y="6613200"/>
            <a:ext cx="1188000" cy="148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902800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894" r:id="rId8"/>
    <p:sldLayoutId id="2147483895" r:id="rId9"/>
    <p:sldLayoutId id="2147483896" r:id="rId10"/>
    <p:sldLayoutId id="2147483897" r:id="rId11"/>
    <p:sldLayoutId id="2147483898" r:id="rId12"/>
    <p:sldLayoutId id="2147483899" r:id="rId13"/>
    <p:sldLayoutId id="2147483900" r:id="rId14"/>
    <p:sldLayoutId id="2147483901" r:id="rId15"/>
    <p:sldLayoutId id="2147483902" r:id="rId16"/>
    <p:sldLayoutId id="2147483903" r:id="rId17"/>
    <p:sldLayoutId id="2147483904" r:id="rId18"/>
    <p:sldLayoutId id="2147483905" r:id="rId19"/>
    <p:sldLayoutId id="2147483906" r:id="rId20"/>
    <p:sldLayoutId id="2147483907" r:id="rId21"/>
    <p:sldLayoutId id="2147483908" r:id="rId22"/>
    <p:sldLayoutId id="2147483909" r:id="rId23"/>
    <p:sldLayoutId id="2147483910" r:id="rId24"/>
    <p:sldLayoutId id="2147483911" r:id="rId25"/>
    <p:sldLayoutId id="2147483912" r:id="rId26"/>
    <p:sldLayoutId id="2147483913" r:id="rId27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913814" rtl="0" eaLnBrk="1" latinLnBrk="0" hangingPunct="1">
        <a:spcBef>
          <a:spcPts val="0"/>
        </a:spcBef>
        <a:buFont typeface="+mj-lt"/>
        <a:buNone/>
        <a:defRPr sz="2999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781" indent="-341781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14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8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535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443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349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25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13" Type="http://schemas.openxmlformats.org/officeDocument/2006/relationships/diagramLayout" Target="../diagrams/layout2.xml"/><Relationship Id="rId3" Type="http://schemas.openxmlformats.org/officeDocument/2006/relationships/slideLayout" Target="../slideLayouts/slideLayout36.xml"/><Relationship Id="rId7" Type="http://schemas.openxmlformats.org/officeDocument/2006/relationships/diagramData" Target="../diagrams/data1.xml"/><Relationship Id="rId12" Type="http://schemas.openxmlformats.org/officeDocument/2006/relationships/diagramData" Target="../diagrams/data2.xml"/><Relationship Id="rId2" Type="http://schemas.openxmlformats.org/officeDocument/2006/relationships/tags" Target="../tags/tag10.xml"/><Relationship Id="rId16" Type="http://schemas.microsoft.com/office/2007/relationships/diagramDrawing" Target="../diagrams/drawing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6.png"/><Relationship Id="rId11" Type="http://schemas.microsoft.com/office/2007/relationships/diagramDrawing" Target="../diagrams/drawing1.xml"/><Relationship Id="rId5" Type="http://schemas.openxmlformats.org/officeDocument/2006/relationships/image" Target="../media/image13.emf"/><Relationship Id="rId15" Type="http://schemas.openxmlformats.org/officeDocument/2006/relationships/diagramColors" Target="../diagrams/colors2.xml"/><Relationship Id="rId10" Type="http://schemas.openxmlformats.org/officeDocument/2006/relationships/diagramColors" Target="../diagrams/colors1.xml"/><Relationship Id="rId4" Type="http://schemas.openxmlformats.org/officeDocument/2006/relationships/oleObject" Target="../embeddings/oleObject9.bin"/><Relationship Id="rId9" Type="http://schemas.openxmlformats.org/officeDocument/2006/relationships/diagramQuickStyle" Target="../diagrams/quickStyle1.xml"/><Relationship Id="rId14" Type="http://schemas.openxmlformats.org/officeDocument/2006/relationships/diagramQuickStyle" Target="../diagrams/quickStyl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13" Type="http://schemas.openxmlformats.org/officeDocument/2006/relationships/diagramData" Target="../diagrams/data4.xml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16.png"/><Relationship Id="rId12" Type="http://schemas.microsoft.com/office/2007/relationships/diagramDrawing" Target="../diagrams/drawing3.xml"/><Relationship Id="rId17" Type="http://schemas.microsoft.com/office/2007/relationships/diagramDrawing" Target="../diagrams/drawing4.xml"/><Relationship Id="rId2" Type="http://schemas.openxmlformats.org/officeDocument/2006/relationships/tags" Target="../tags/tag11.xml"/><Relationship Id="rId16" Type="http://schemas.openxmlformats.org/officeDocument/2006/relationships/diagramColors" Target="../diagrams/colors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3.emf"/><Relationship Id="rId11" Type="http://schemas.openxmlformats.org/officeDocument/2006/relationships/diagramColors" Target="../diagrams/colors3.xml"/><Relationship Id="rId5" Type="http://schemas.openxmlformats.org/officeDocument/2006/relationships/oleObject" Target="../embeddings/oleObject10.bin"/><Relationship Id="rId15" Type="http://schemas.openxmlformats.org/officeDocument/2006/relationships/diagramQuickStyle" Target="../diagrams/quickStyle4.xml"/><Relationship Id="rId10" Type="http://schemas.openxmlformats.org/officeDocument/2006/relationships/diagramQuickStyle" Target="../diagrams/quickStyle3.xml"/><Relationship Id="rId4" Type="http://schemas.openxmlformats.org/officeDocument/2006/relationships/notesSlide" Target="../notesSlides/notesSlide2.xml"/><Relationship Id="rId9" Type="http://schemas.openxmlformats.org/officeDocument/2006/relationships/diagramLayout" Target="../diagrams/layout3.xml"/><Relationship Id="rId14" Type="http://schemas.openxmlformats.org/officeDocument/2006/relationships/diagramLayout" Target="../diagrams/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/>
              <a:t>Антимонопольный </a:t>
            </a:r>
            <a:r>
              <a:rPr lang="ru-RU" dirty="0" err="1" smtClean="0"/>
              <a:t>комплаенс</a:t>
            </a:r>
            <a:r>
              <a:rPr lang="ru-RU" dirty="0" smtClean="0"/>
              <a:t> как элемент корпоративного управления АО «Мерседес-</a:t>
            </a:r>
            <a:r>
              <a:rPr lang="ru-RU" dirty="0" err="1" smtClean="0"/>
              <a:t>Бенц</a:t>
            </a:r>
            <a:r>
              <a:rPr lang="ru-RU" dirty="0" smtClean="0"/>
              <a:t> РУС»</a:t>
            </a:r>
            <a:endParaRPr lang="en-US" dirty="0"/>
          </a:p>
        </p:txBody>
      </p:sp>
      <p:sp>
        <p:nvSpPr>
          <p:cNvPr id="8" name="Untertitel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lvl="0"/>
            <a:r>
              <a:rPr lang="ru-RU" dirty="0" smtClean="0"/>
              <a:t>Менеджер по корпоративному регулированию малотоннажных автомобилей </a:t>
            </a:r>
          </a:p>
          <a:p>
            <a:pPr lvl="0"/>
            <a:r>
              <a:rPr lang="ru-RU" dirty="0" smtClean="0"/>
              <a:t>АО «Мерседес-</a:t>
            </a:r>
            <a:r>
              <a:rPr lang="ru-RU" dirty="0" err="1" smtClean="0"/>
              <a:t>Бенц</a:t>
            </a:r>
            <a:r>
              <a:rPr lang="ru-RU" dirty="0" smtClean="0"/>
              <a:t> РУС»</a:t>
            </a:r>
          </a:p>
          <a:p>
            <a:pPr lvl="0"/>
            <a:r>
              <a:rPr lang="ru-RU" dirty="0" smtClean="0"/>
              <a:t>Екатерина Федорченко</a:t>
            </a:r>
          </a:p>
        </p:txBody>
      </p:sp>
      <p:pic>
        <p:nvPicPr>
          <p:cNvPr id="2" name="Picture Placeholder 1"/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t="31322" b="31322"/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34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2302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1"/>
          <p:cNvGrpSpPr/>
          <p:nvPr/>
        </p:nvGrpSpPr>
        <p:grpSpPr>
          <a:xfrm>
            <a:off x="-10277" y="0"/>
            <a:ext cx="12202278" cy="6858000"/>
            <a:chOff x="-960784" y="7357970"/>
            <a:chExt cx="12226957" cy="6928681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6"/>
            <a:srcRect t="24533" r="32928" b="24706"/>
            <a:stretch/>
          </p:blipFill>
          <p:spPr>
            <a:xfrm>
              <a:off x="-960784" y="7357970"/>
              <a:ext cx="12216679" cy="6912768"/>
            </a:xfrm>
            <a:prstGeom prst="rect">
              <a:avLst/>
            </a:prstGeom>
          </p:spPr>
        </p:pic>
        <p:sp>
          <p:nvSpPr>
            <p:cNvPr id="11" name="Rectangle 10"/>
            <p:cNvSpPr/>
            <p:nvPr/>
          </p:nvSpPr>
          <p:spPr bwMode="auto">
            <a:xfrm>
              <a:off x="-950507" y="7357970"/>
              <a:ext cx="12216680" cy="6928681"/>
            </a:xfrm>
            <a:prstGeom prst="rect">
              <a:avLst/>
            </a:prstGeom>
            <a:solidFill>
              <a:schemeClr val="bg1">
                <a:alpha val="6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 err="1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CM Vans| | 29.09.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484000" y="6552000"/>
            <a:ext cx="323830" cy="306000"/>
          </a:xfrm>
          <a:prstGeom prst="rect">
            <a:avLst/>
          </a:prstGeo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2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6" name="Textplatzhalter 22"/>
          <p:cNvSpPr txBox="1">
            <a:spLocks/>
          </p:cNvSpPr>
          <p:nvPr/>
        </p:nvSpPr>
        <p:spPr bwMode="black">
          <a:xfrm>
            <a:off x="530337" y="167757"/>
            <a:ext cx="5505133" cy="2202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1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1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1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1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1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1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1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45" name="Title 1"/>
          <p:cNvSpPr txBox="1">
            <a:spLocks/>
          </p:cNvSpPr>
          <p:nvPr/>
        </p:nvSpPr>
        <p:spPr bwMode="black">
          <a:xfrm>
            <a:off x="242027" y="192073"/>
            <a:ext cx="11403888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3814" rtl="0" eaLnBrk="1" latinLnBrk="0" hangingPunct="1">
              <a:spcBef>
                <a:spcPts val="0"/>
              </a:spcBef>
              <a:buFont typeface="+mj-lt"/>
              <a:buNone/>
              <a:defRPr sz="2999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  <p:graphicFrame>
        <p:nvGraphicFramePr>
          <p:cNvPr id="31" name="Diagram 30"/>
          <p:cNvGraphicFramePr/>
          <p:nvPr>
            <p:extLst>
              <p:ext uri="{D42A27DB-BD31-4B8C-83A1-F6EECF244321}">
                <p14:modId xmlns:p14="http://schemas.microsoft.com/office/powerpoint/2010/main" val="2399868410"/>
              </p:ext>
            </p:extLst>
          </p:nvPr>
        </p:nvGraphicFramePr>
        <p:xfrm>
          <a:off x="839416" y="483347"/>
          <a:ext cx="5991813" cy="58913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37" name="Diagram 36"/>
          <p:cNvGraphicFramePr/>
          <p:nvPr>
            <p:extLst>
              <p:ext uri="{D42A27DB-BD31-4B8C-83A1-F6EECF244321}">
                <p14:modId xmlns:p14="http://schemas.microsoft.com/office/powerpoint/2010/main" val="3635340696"/>
              </p:ext>
            </p:extLst>
          </p:nvPr>
        </p:nvGraphicFramePr>
        <p:xfrm>
          <a:off x="6831229" y="277894"/>
          <a:ext cx="4980235" cy="39001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</p:spTree>
    <p:extLst>
      <p:ext uri="{BB962C8B-B14F-4D97-AF65-F5344CB8AC3E}">
        <p14:creationId xmlns:p14="http://schemas.microsoft.com/office/powerpoint/2010/main" val="34028501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1" grpId="0">
        <p:bldAsOne/>
      </p:bldGraphic>
      <p:bldGraphic spid="37" grpId="0">
        <p:bldAsOne/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2302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1"/>
          <p:cNvGrpSpPr/>
          <p:nvPr/>
        </p:nvGrpSpPr>
        <p:grpSpPr>
          <a:xfrm>
            <a:off x="-139750" y="0"/>
            <a:ext cx="12350439" cy="6938538"/>
            <a:chOff x="-960784" y="7357970"/>
            <a:chExt cx="12226957" cy="6928681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7"/>
            <a:srcRect t="24533" r="32928" b="24706"/>
            <a:stretch/>
          </p:blipFill>
          <p:spPr>
            <a:xfrm>
              <a:off x="-960784" y="7357970"/>
              <a:ext cx="12216679" cy="6912768"/>
            </a:xfrm>
            <a:prstGeom prst="rect">
              <a:avLst/>
            </a:prstGeom>
          </p:spPr>
        </p:pic>
        <p:sp>
          <p:nvSpPr>
            <p:cNvPr id="11" name="Rectangle 10"/>
            <p:cNvSpPr/>
            <p:nvPr/>
          </p:nvSpPr>
          <p:spPr bwMode="auto">
            <a:xfrm>
              <a:off x="-950507" y="7357970"/>
              <a:ext cx="12216680" cy="6928681"/>
            </a:xfrm>
            <a:prstGeom prst="rect">
              <a:avLst/>
            </a:prstGeom>
            <a:solidFill>
              <a:schemeClr val="bg1">
                <a:alpha val="69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 err="1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LCM Vans|  29.08.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484000" y="6552000"/>
            <a:ext cx="323830" cy="306000"/>
          </a:xfrm>
          <a:prstGeom prst="rect">
            <a:avLst/>
          </a:prstGeo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6" name="Textplatzhalter 22"/>
          <p:cNvSpPr txBox="1">
            <a:spLocks/>
          </p:cNvSpPr>
          <p:nvPr/>
        </p:nvSpPr>
        <p:spPr bwMode="black">
          <a:xfrm>
            <a:off x="530337" y="167757"/>
            <a:ext cx="5505133" cy="2202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1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1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1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1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1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1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1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45" name="Title 1"/>
          <p:cNvSpPr txBox="1">
            <a:spLocks/>
          </p:cNvSpPr>
          <p:nvPr/>
        </p:nvSpPr>
        <p:spPr bwMode="black">
          <a:xfrm>
            <a:off x="242027" y="192073"/>
            <a:ext cx="11403888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3814" rtl="0" eaLnBrk="1" latinLnBrk="0" hangingPunct="1">
              <a:spcBef>
                <a:spcPts val="0"/>
              </a:spcBef>
              <a:buFont typeface="+mj-lt"/>
              <a:buNone/>
              <a:defRPr sz="2999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  <p:sp>
        <p:nvSpPr>
          <p:cNvPr id="14" name="Block Arc 13"/>
          <p:cNvSpPr/>
          <p:nvPr/>
        </p:nvSpPr>
        <p:spPr>
          <a:xfrm>
            <a:off x="-21" y="87466"/>
            <a:ext cx="6667316" cy="6667316"/>
          </a:xfrm>
          <a:prstGeom prst="blockArc">
            <a:avLst>
              <a:gd name="adj1" fmla="val 18867383"/>
              <a:gd name="adj2" fmla="val 2886180"/>
              <a:gd name="adj3" fmla="val 0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dk2">
              <a:shade val="60000"/>
              <a:hueOff val="0"/>
              <a:satOff val="0"/>
              <a:lumOff val="0"/>
              <a:alphaOff val="0"/>
            </a:schemeClr>
          </a:lnRef>
          <a:fillRef idx="0">
            <a:schemeClr val="dk2">
              <a:hueOff val="0"/>
              <a:satOff val="0"/>
              <a:lumOff val="0"/>
              <a:alphaOff val="0"/>
            </a:schemeClr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5" name="Group 14"/>
          <p:cNvGrpSpPr/>
          <p:nvPr/>
        </p:nvGrpSpPr>
        <p:grpSpPr>
          <a:xfrm>
            <a:off x="5447928" y="587357"/>
            <a:ext cx="6036072" cy="584414"/>
            <a:chOff x="648465" y="442877"/>
            <a:chExt cx="5922693" cy="886216"/>
          </a:xfrm>
        </p:grpSpPr>
        <p:sp>
          <p:nvSpPr>
            <p:cNvPr id="16" name="Rectangle 15"/>
            <p:cNvSpPr/>
            <p:nvPr/>
          </p:nvSpPr>
          <p:spPr>
            <a:xfrm>
              <a:off x="648465" y="442877"/>
              <a:ext cx="5922693" cy="886216"/>
            </a:xfrm>
            <a:prstGeom prst="rect">
              <a:avLst/>
            </a:prstGeom>
            <a:solidFill>
              <a:srgbClr val="00ADEF"/>
            </a:solidFill>
            <a:ln cmpd="sng">
              <a:solidFill>
                <a:schemeClr val="tx1"/>
              </a:solidFill>
            </a:ln>
            <a:effectLst>
              <a:outerShdw blurRad="107950" dist="12700" dir="5400000" algn="ctr">
                <a:srgbClr val="000000"/>
              </a:outerShdw>
              <a:softEdge rad="0"/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/>
              <a:contourClr>
                <a:srgbClr val="FFFFFF"/>
              </a:contourClr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r>
                <a:rPr lang="ru-RU" dirty="0" smtClean="0"/>
                <a:t>Член совета директоров ответственный за </a:t>
              </a:r>
              <a:r>
                <a:rPr lang="ru-RU" dirty="0" err="1" smtClean="0"/>
                <a:t>комплаенс</a:t>
              </a:r>
              <a:r>
                <a:rPr lang="ru-RU" dirty="0" smtClean="0"/>
                <a:t> на уровне группы</a:t>
              </a:r>
              <a:endParaRPr lang="ru-RU" dirty="0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648465" y="442877"/>
              <a:ext cx="5922693" cy="88621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03435" tIns="50800" rIns="50800" bIns="50800" numCol="1" spcCol="1270" anchor="ctr" anchorCtr="0">
              <a:noAutofit/>
            </a:bodyPr>
            <a:lstStyle/>
            <a:p>
              <a:pPr lvl="0" algn="l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000" kern="1200" dirty="0"/>
            </a:p>
          </p:txBody>
        </p:sp>
      </p:grpSp>
      <p:sp>
        <p:nvSpPr>
          <p:cNvPr id="18" name="Rectangle 17"/>
          <p:cNvSpPr/>
          <p:nvPr/>
        </p:nvSpPr>
        <p:spPr>
          <a:xfrm>
            <a:off x="5952908" y="1582924"/>
            <a:ext cx="6036072" cy="584414"/>
          </a:xfrm>
          <a:prstGeom prst="rect">
            <a:avLst/>
          </a:prstGeom>
          <a:solidFill>
            <a:schemeClr val="tx1"/>
          </a:solidFill>
          <a:ln>
            <a:noFill/>
          </a:ln>
          <a:effectLst>
            <a:outerShdw blurRad="107950" dist="12700" dir="5400000" algn="ctr">
              <a:srgbClr val="000000"/>
            </a:outerShdw>
            <a:softEdge rad="0"/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4">
              <a:hueOff val="0"/>
              <a:satOff val="0"/>
              <a:lumOff val="0"/>
              <a:alphaOff val="0"/>
            </a:schemeClr>
          </a:fillRef>
          <a:effectRef idx="2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r>
              <a:rPr lang="ru-RU" dirty="0">
                <a:solidFill>
                  <a:srgbClr val="003366"/>
                </a:solidFill>
              </a:rPr>
              <a:t>Вовлеченность и ответственность </a:t>
            </a:r>
            <a:r>
              <a:rPr lang="en-US" dirty="0">
                <a:solidFill>
                  <a:srgbClr val="003366"/>
                </a:solidFill>
              </a:rPr>
              <a:t>top &amp; middle management</a:t>
            </a:r>
            <a:endParaRPr lang="ru-RU" dirty="0">
              <a:solidFill>
                <a:srgbClr val="003366"/>
              </a:solidFill>
            </a:endParaRPr>
          </a:p>
        </p:txBody>
      </p:sp>
      <p:graphicFrame>
        <p:nvGraphicFramePr>
          <p:cNvPr id="31" name="Diagram 30"/>
          <p:cNvGraphicFramePr/>
          <p:nvPr>
            <p:extLst>
              <p:ext uri="{D42A27DB-BD31-4B8C-83A1-F6EECF244321}">
                <p14:modId xmlns:p14="http://schemas.microsoft.com/office/powerpoint/2010/main" val="3906225480"/>
              </p:ext>
            </p:extLst>
          </p:nvPr>
        </p:nvGraphicFramePr>
        <p:xfrm>
          <a:off x="782352" y="1300398"/>
          <a:ext cx="4728096" cy="45934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9" name="Rectangle 18"/>
          <p:cNvSpPr/>
          <p:nvPr/>
        </p:nvSpPr>
        <p:spPr>
          <a:xfrm>
            <a:off x="6031261" y="2605908"/>
            <a:ext cx="6036072" cy="584414"/>
          </a:xfrm>
          <a:prstGeom prst="rect">
            <a:avLst/>
          </a:prstGeom>
          <a:solidFill>
            <a:srgbClr val="003366"/>
          </a:solidFill>
          <a:ln>
            <a:solidFill>
              <a:schemeClr val="tx1"/>
            </a:solidFill>
          </a:ln>
          <a:effectLst>
            <a:outerShdw blurRad="107950" dist="12700" dir="5400000" algn="ctr">
              <a:srgbClr val="000000"/>
            </a:outerShdw>
            <a:softEdge rad="0"/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relaxedInset"/>
            <a:contourClr>
              <a:srgbClr val="FFFFFF"/>
            </a:contourClr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4">
              <a:hueOff val="0"/>
              <a:satOff val="0"/>
              <a:lumOff val="0"/>
              <a:alphaOff val="0"/>
            </a:schemeClr>
          </a:fillRef>
          <a:effectRef idx="2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r>
              <a:rPr lang="ru-RU" dirty="0"/>
              <a:t>Кодекс этики,  применимый ко всей группе </a:t>
            </a:r>
            <a:r>
              <a:rPr lang="en-US" dirty="0"/>
              <a:t>worldwide</a:t>
            </a:r>
            <a:endParaRPr lang="ru-RU" dirty="0"/>
          </a:p>
        </p:txBody>
      </p:sp>
      <p:sp>
        <p:nvSpPr>
          <p:cNvPr id="20" name="Rectangle 19"/>
          <p:cNvSpPr/>
          <p:nvPr/>
        </p:nvSpPr>
        <p:spPr>
          <a:xfrm>
            <a:off x="6035470" y="3628892"/>
            <a:ext cx="6036072" cy="584414"/>
          </a:xfrm>
          <a:prstGeom prst="rect">
            <a:avLst/>
          </a:prstGeom>
          <a:solidFill>
            <a:srgbClr val="0082E6"/>
          </a:solidFill>
          <a:ln>
            <a:solidFill>
              <a:schemeClr val="tx1"/>
            </a:solidFill>
          </a:ln>
          <a:effectLst>
            <a:outerShdw blurRad="107950" dist="12700" dir="5400000" algn="ctr">
              <a:srgbClr val="000000"/>
            </a:outerShdw>
            <a:softEdge rad="0"/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/>
            <a:contourClr>
              <a:srgbClr val="FFFFFF"/>
            </a:contourClr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4">
              <a:hueOff val="0"/>
              <a:satOff val="0"/>
              <a:lumOff val="0"/>
              <a:alphaOff val="0"/>
            </a:schemeClr>
          </a:fillRef>
          <a:effectRef idx="2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r>
              <a:rPr lang="ru-RU" dirty="0"/>
              <a:t>Подчинение </a:t>
            </a:r>
            <a:r>
              <a:rPr lang="ru-RU" dirty="0" err="1"/>
              <a:t>комплаенс</a:t>
            </a:r>
            <a:r>
              <a:rPr lang="ru-RU" dirty="0"/>
              <a:t>-функции в штаб-квартиру группы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959786" y="4651876"/>
            <a:ext cx="6036072" cy="584414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  <a:softEdge rad="0"/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4">
              <a:hueOff val="0"/>
              <a:satOff val="0"/>
              <a:lumOff val="0"/>
              <a:alphaOff val="0"/>
            </a:schemeClr>
          </a:fillRef>
          <a:effectRef idx="2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r>
              <a:rPr lang="ru-RU" dirty="0"/>
              <a:t>Внедрение превентивного контроля в бизнес-процессы с правом вето</a:t>
            </a:r>
          </a:p>
        </p:txBody>
      </p:sp>
      <p:sp>
        <p:nvSpPr>
          <p:cNvPr id="22" name="Rectangle 21"/>
          <p:cNvSpPr/>
          <p:nvPr/>
        </p:nvSpPr>
        <p:spPr>
          <a:xfrm>
            <a:off x="5447928" y="5674860"/>
            <a:ext cx="6036072" cy="584414"/>
          </a:xfrm>
          <a:prstGeom prst="rect">
            <a:avLst/>
          </a:prstGeom>
          <a:solidFill>
            <a:srgbClr val="00ADEF"/>
          </a:solidFill>
          <a:ln>
            <a:noFill/>
          </a:ln>
          <a:effectLst>
            <a:outerShdw blurRad="107950" dist="12700" dir="5400000" algn="ctr">
              <a:srgbClr val="000000"/>
            </a:outerShdw>
            <a:softEdge rad="0"/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4">
              <a:hueOff val="0"/>
              <a:satOff val="0"/>
              <a:lumOff val="0"/>
              <a:alphaOff val="0"/>
            </a:schemeClr>
          </a:fillRef>
          <a:effectRef idx="2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r>
              <a:rPr lang="ru-RU" dirty="0" smtClean="0"/>
              <a:t>Применение мер ответственности и последующая адаптация процессов</a:t>
            </a:r>
            <a:endParaRPr lang="ru-RU" dirty="0"/>
          </a:p>
        </p:txBody>
      </p:sp>
      <p:graphicFrame>
        <p:nvGraphicFramePr>
          <p:cNvPr id="25" name="Diagram 24"/>
          <p:cNvGraphicFramePr/>
          <p:nvPr>
            <p:extLst>
              <p:ext uri="{D42A27DB-BD31-4B8C-83A1-F6EECF244321}">
                <p14:modId xmlns:p14="http://schemas.microsoft.com/office/powerpoint/2010/main" val="1441181619"/>
              </p:ext>
            </p:extLst>
          </p:nvPr>
        </p:nvGraphicFramePr>
        <p:xfrm>
          <a:off x="94275" y="148669"/>
          <a:ext cx="5263554" cy="9040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14760290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Graphic spid="31" grpId="0">
        <p:bldAsOne/>
      </p:bldGraphic>
      <p:bldP spid="19" grpId="0" animBg="1"/>
      <p:bldP spid="20" grpId="0" animBg="1"/>
      <p:bldP spid="21" grpId="0" animBg="1"/>
      <p:bldP spid="2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6"/>
          <a:srcRect t="24533" r="32928" b="24706"/>
          <a:stretch/>
        </p:blipFill>
        <p:spPr>
          <a:xfrm>
            <a:off x="8773" y="0"/>
            <a:ext cx="12192021" cy="6842249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prstClr val="white"/>
                </a:solidFill>
              </a:rPr>
              <a:t>Marketing communications | Van Board | 23.08.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484000" y="6552000"/>
            <a:ext cx="323830" cy="306000"/>
          </a:xfrm>
          <a:prstGeom prst="rect">
            <a:avLst/>
          </a:prstGeom>
        </p:spPr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4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6" name="Textplatzhalter 22"/>
          <p:cNvSpPr txBox="1">
            <a:spLocks/>
          </p:cNvSpPr>
          <p:nvPr/>
        </p:nvSpPr>
        <p:spPr bwMode="black">
          <a:xfrm>
            <a:off x="530337" y="167757"/>
            <a:ext cx="5505133" cy="2202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1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1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1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1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1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1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381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11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45" name="Title 1"/>
          <p:cNvSpPr txBox="1">
            <a:spLocks/>
          </p:cNvSpPr>
          <p:nvPr/>
        </p:nvSpPr>
        <p:spPr bwMode="black">
          <a:xfrm>
            <a:off x="242027" y="192073"/>
            <a:ext cx="11403888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3814" rtl="0" eaLnBrk="1" latinLnBrk="0" hangingPunct="1">
              <a:spcBef>
                <a:spcPts val="0"/>
              </a:spcBef>
              <a:buFont typeface="+mj-lt"/>
              <a:buNone/>
              <a:defRPr sz="2999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/>
              <a:t>Спасибо</a:t>
            </a:r>
            <a:r>
              <a:rPr lang="en-US" dirty="0" smtClean="0"/>
              <a:t>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34179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rcedes-Benz white">
  <a:themeElements>
    <a:clrScheme name="Mercedes-Benz white 2">
      <a:dk1>
        <a:srgbClr val="FFFFFF"/>
      </a:dk1>
      <a:lt1>
        <a:srgbClr val="000000"/>
      </a:lt1>
      <a:dk2>
        <a:srgbClr val="EAEAEA"/>
      </a:dk2>
      <a:lt2>
        <a:srgbClr val="B6BBC1"/>
      </a:lt2>
      <a:accent1>
        <a:srgbClr val="9E9E9E"/>
      </a:accent1>
      <a:accent2>
        <a:srgbClr val="E6E6E6"/>
      </a:accent2>
      <a:accent3>
        <a:srgbClr val="C8C8C8"/>
      </a:accent3>
      <a:accent4>
        <a:srgbClr val="707070"/>
      </a:accent4>
      <a:accent5>
        <a:srgbClr val="444444"/>
      </a:accent5>
      <a:accent6>
        <a:srgbClr val="00ADEF"/>
      </a:accent6>
      <a:hlink>
        <a:srgbClr val="00ADEF"/>
      </a:hlink>
      <a:folHlink>
        <a:srgbClr val="00ADEF"/>
      </a:folHlink>
    </a:clrScheme>
    <a:fontScheme name="© 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custClrLst>
    <a:custClr name="Light Grey 100%">
      <a:srgbClr val="E6E6E6"/>
    </a:custClr>
    <a:custClr name="Light Grey +20 K">
      <a:srgbClr val="C8C8C8"/>
    </a:custClr>
    <a:custClr name="Light Grey +40 K">
      <a:srgbClr val="9E9E9E"/>
    </a:custClr>
    <a:custClr name="Light Grey +60 K">
      <a:srgbClr val="707070"/>
    </a:custClr>
    <a:custClr name="Light Grey +80 K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ure Blue 100%">
      <a:srgbClr val="00ADEF"/>
    </a:custClr>
    <a:custClr name="Pure Blue +">
      <a:srgbClr val="0082E6"/>
    </a:custClr>
    <a:custClr name="Pure Blue ++">
      <a:srgbClr val="0033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ed">
      <a:srgbClr val="9F000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xmlns="" name="2018_MB_Vans_AS_presentation_EN_v2.potx" id="{90EC56AD-16F7-4068-BD42-3E699CA79197}" vid="{7468874C-FF29-4403-9495-4B4513BFD951}"/>
    </a:ext>
  </a:extLst>
</a:theme>
</file>

<file path=ppt/theme/theme10.xml><?xml version="1.0" encoding="utf-8"?>
<a:theme xmlns:a="http://schemas.openxmlformats.org/drawingml/2006/main" name="Larissa">
  <a:themeElements>
    <a:clrScheme name="Mercedes-Benz white 2">
      <a:dk1>
        <a:srgbClr val="FFFFFF"/>
      </a:dk1>
      <a:lt1>
        <a:srgbClr val="000000"/>
      </a:lt1>
      <a:dk2>
        <a:srgbClr val="EAEAEA"/>
      </a:dk2>
      <a:lt2>
        <a:srgbClr val="B6BBC1"/>
      </a:lt2>
      <a:accent1>
        <a:srgbClr val="9E9E9E"/>
      </a:accent1>
      <a:accent2>
        <a:srgbClr val="E6E6E6"/>
      </a:accent2>
      <a:accent3>
        <a:srgbClr val="C8C8C8"/>
      </a:accent3>
      <a:accent4>
        <a:srgbClr val="707070"/>
      </a:accent4>
      <a:accent5>
        <a:srgbClr val="444444"/>
      </a:accent5>
      <a:accent6>
        <a:srgbClr val="00ADEF"/>
      </a:accent6>
      <a:hlink>
        <a:srgbClr val="00ADEF"/>
      </a:hlink>
      <a:folHlink>
        <a:srgbClr val="00ADEF"/>
      </a:folHlink>
    </a:clrScheme>
    <a:fontScheme name="© 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ercedes-Benz black">
  <a:themeElements>
    <a:clrScheme name="Mercedes-Benz black new 2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9E9E9E"/>
      </a:accent1>
      <a:accent2>
        <a:srgbClr val="E6E6E6"/>
      </a:accent2>
      <a:accent3>
        <a:srgbClr val="C8C8C8"/>
      </a:accent3>
      <a:accent4>
        <a:srgbClr val="707070"/>
      </a:accent4>
      <a:accent5>
        <a:srgbClr val="444444"/>
      </a:accent5>
      <a:accent6>
        <a:srgbClr val="00ADEF"/>
      </a:accent6>
      <a:hlink>
        <a:srgbClr val="00ADEF"/>
      </a:hlink>
      <a:folHlink>
        <a:srgbClr val="00ADEF"/>
      </a:folHlink>
    </a:clrScheme>
    <a:fontScheme name="© 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custClrLst>
    <a:custClr name="Light Grey 100%">
      <a:srgbClr val="E6E6E6"/>
    </a:custClr>
    <a:custClr name="Light Grey +20 K">
      <a:srgbClr val="C8C8C8"/>
    </a:custClr>
    <a:custClr name="Light Grey +40 K">
      <a:srgbClr val="9E9E9E"/>
    </a:custClr>
    <a:custClr name="Light Grey +60 K">
      <a:srgbClr val="707070"/>
    </a:custClr>
    <a:custClr name="Light Grey +80 K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ure Blue 100%">
      <a:srgbClr val="00ADEF"/>
    </a:custClr>
    <a:custClr name="Pure Blue +">
      <a:srgbClr val="0082E6"/>
    </a:custClr>
    <a:custClr name="Pure Blue ++">
      <a:srgbClr val="0033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ed">
      <a:srgbClr val="9F000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xmlns="" name="2018_MB_Vans_AS_presentation_EN_v2.potx" id="{90EC56AD-16F7-4068-BD42-3E699CA79197}" vid="{9B0C42C2-E2B2-4245-B4F8-7C461733EB25}"/>
    </a:ext>
  </a:extLst>
</a:theme>
</file>

<file path=ppt/theme/theme3.xml><?xml version="1.0" encoding="utf-8"?>
<a:theme xmlns:a="http://schemas.openxmlformats.org/drawingml/2006/main" name="2_PPT Master // Mercedes-Benz Vans  // 16x9 // black">
  <a:themeElements>
    <a:clrScheme name="Benutzerdefiniert 4">
      <a:dk1>
        <a:sysClr val="windowText" lastClr="000000"/>
      </a:dk1>
      <a:lt1>
        <a:sysClr val="window" lastClr="FFFFFF"/>
      </a:lt1>
      <a:dk2>
        <a:srgbClr val="B6BBC1"/>
      </a:dk2>
      <a:lt2>
        <a:srgbClr val="EAEAEA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 alte Schriften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PT_16x9_Mercedes-Benz_EN_5a-Bug-Graustufen.potx" id="{37C35825-81E0-451D-89BA-1F7E4ADA7097}" vid="{4931FE1C-8209-488E-BA5E-C44370187EFC}"/>
    </a:ext>
  </a:extLst>
</a:theme>
</file>

<file path=ppt/theme/theme4.xml><?xml version="1.0" encoding="utf-8"?>
<a:theme xmlns:a="http://schemas.openxmlformats.org/drawingml/2006/main" name="3_PPT Master // Mercedes-Benz Vans  // 16x9 // black">
  <a:themeElements>
    <a:clrScheme name="Benutzerdefiniert 4">
      <a:dk1>
        <a:sysClr val="windowText" lastClr="000000"/>
      </a:dk1>
      <a:lt1>
        <a:sysClr val="window" lastClr="FFFFFF"/>
      </a:lt1>
      <a:dk2>
        <a:srgbClr val="B6BBC1"/>
      </a:dk2>
      <a:lt2>
        <a:srgbClr val="EAEAEA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 alte Schriften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PT_16x9_Mercedes-Benz_EN_5a-Bug-Graustufen.potx" id="{37C35825-81E0-451D-89BA-1F7E4ADA7097}" vid="{4931FE1C-8209-488E-BA5E-C44370187EFC}"/>
    </a:ext>
  </a:extLst>
</a:theme>
</file>

<file path=ppt/theme/theme5.xml><?xml version="1.0" encoding="utf-8"?>
<a:theme xmlns:a="http://schemas.openxmlformats.org/drawingml/2006/main" name="4_PPT Master // Mercedes-Benz Vans  // 16x9 // black">
  <a:themeElements>
    <a:clrScheme name="Benutzerdefiniert 4">
      <a:dk1>
        <a:sysClr val="windowText" lastClr="000000"/>
      </a:dk1>
      <a:lt1>
        <a:sysClr val="window" lastClr="FFFFFF"/>
      </a:lt1>
      <a:dk2>
        <a:srgbClr val="B6BBC1"/>
      </a:dk2>
      <a:lt2>
        <a:srgbClr val="EAEAEA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 alte Schriften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PT_16x9_Mercedes-Benz_EN_5a-Bug-Graustufen.potx" id="{37C35825-81E0-451D-89BA-1F7E4ADA7097}" vid="{4931FE1C-8209-488E-BA5E-C44370187EFC}"/>
    </a:ext>
  </a:extLst>
</a:theme>
</file>

<file path=ppt/theme/theme6.xml><?xml version="1.0" encoding="utf-8"?>
<a:theme xmlns:a="http://schemas.openxmlformats.org/drawingml/2006/main" name="5_PPT Master // Mercedes-Benz Vans  // 16x9 // black">
  <a:themeElements>
    <a:clrScheme name="Benutzerdefiniert 4">
      <a:dk1>
        <a:sysClr val="windowText" lastClr="000000"/>
      </a:dk1>
      <a:lt1>
        <a:sysClr val="window" lastClr="FFFFFF"/>
      </a:lt1>
      <a:dk2>
        <a:srgbClr val="B6BBC1"/>
      </a:dk2>
      <a:lt2>
        <a:srgbClr val="EAEAEA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 alte Schriften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PT_16x9_Mercedes-Benz_EN_5a-Bug-Graustufen.potx" id="{37C35825-81E0-451D-89BA-1F7E4ADA7097}" vid="{4931FE1C-8209-488E-BA5E-C44370187EFC}"/>
    </a:ext>
  </a:extLst>
</a:theme>
</file>

<file path=ppt/theme/theme7.xml><?xml version="1.0" encoding="utf-8"?>
<a:theme xmlns:a="http://schemas.openxmlformats.org/drawingml/2006/main" name="PPT Master // Mercedes-Benz Vans  // 16x9 // black">
  <a:themeElements>
    <a:clrScheme name="Benutzerdefiniert 4">
      <a:dk1>
        <a:sysClr val="windowText" lastClr="000000"/>
      </a:dk1>
      <a:lt1>
        <a:sysClr val="window" lastClr="FFFFFF"/>
      </a:lt1>
      <a:dk2>
        <a:srgbClr val="B6BBC1"/>
      </a:dk2>
      <a:lt2>
        <a:srgbClr val="EAEAEA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 alte Schriften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PT_16x9_Mercedes-Benz_EN_5a-Bug-Graustufen.potx" id="{37C35825-81E0-451D-89BA-1F7E4ADA7097}" vid="{4931FE1C-8209-488E-BA5E-C44370187EFC}"/>
    </a:ext>
  </a:extLst>
</a:theme>
</file>

<file path=ppt/theme/theme8.xml><?xml version="1.0" encoding="utf-8"?>
<a:theme xmlns:a="http://schemas.openxmlformats.org/drawingml/2006/main" name="6_PPT Master // Mercedes-Benz Vans  // 16x9 // black">
  <a:themeElements>
    <a:clrScheme name="Benutzerdefiniert 4">
      <a:dk1>
        <a:sysClr val="windowText" lastClr="000000"/>
      </a:dk1>
      <a:lt1>
        <a:sysClr val="window" lastClr="FFFFFF"/>
      </a:lt1>
      <a:dk2>
        <a:srgbClr val="B6BBC1"/>
      </a:dk2>
      <a:lt2>
        <a:srgbClr val="EAEAEA"/>
      </a:lt2>
      <a:accent1>
        <a:srgbClr val="B6BBC1"/>
      </a:accent1>
      <a:accent2>
        <a:srgbClr val="00ADEF"/>
      </a:accent2>
      <a:accent3>
        <a:srgbClr val="0082E6"/>
      </a:accent3>
      <a:accent4>
        <a:srgbClr val="003366"/>
      </a:accent4>
      <a:accent5>
        <a:srgbClr val="333333"/>
      </a:accent5>
      <a:accent6>
        <a:srgbClr val="9F0002"/>
      </a:accent6>
      <a:hlink>
        <a:srgbClr val="0082E6"/>
      </a:hlink>
      <a:folHlink>
        <a:srgbClr val="999999"/>
      </a:folHlink>
    </a:clrScheme>
    <a:fontScheme name="Mercedes-Benz alte Schriften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PT_16x9_Mercedes-Benz_EN_5a-Bug-Graustufen.potx" id="{37C35825-81E0-451D-89BA-1F7E4ADA7097}" vid="{4931FE1C-8209-488E-BA5E-C44370187EFC}"/>
    </a:ext>
  </a:extLst>
</a:theme>
</file>

<file path=ppt/theme/theme9.xml><?xml version="1.0" encoding="utf-8"?>
<a:theme xmlns:a="http://schemas.openxmlformats.org/drawingml/2006/main" name="Larissa">
  <a:themeElements>
    <a:clrScheme name="Mercedes-Benz white 2">
      <a:dk1>
        <a:srgbClr val="FFFFFF"/>
      </a:dk1>
      <a:lt1>
        <a:srgbClr val="000000"/>
      </a:lt1>
      <a:dk2>
        <a:srgbClr val="EAEAEA"/>
      </a:dk2>
      <a:lt2>
        <a:srgbClr val="B6BBC1"/>
      </a:lt2>
      <a:accent1>
        <a:srgbClr val="9E9E9E"/>
      </a:accent1>
      <a:accent2>
        <a:srgbClr val="E6E6E6"/>
      </a:accent2>
      <a:accent3>
        <a:srgbClr val="C8C8C8"/>
      </a:accent3>
      <a:accent4>
        <a:srgbClr val="707070"/>
      </a:accent4>
      <a:accent5>
        <a:srgbClr val="444444"/>
      </a:accent5>
      <a:accent6>
        <a:srgbClr val="00ADEF"/>
      </a:accent6>
      <a:hlink>
        <a:srgbClr val="00ADEF"/>
      </a:hlink>
      <a:folHlink>
        <a:srgbClr val="00ADEF"/>
      </a:folHlink>
    </a:clrScheme>
    <a:fontScheme name="© 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8_MB_Vans_AS_presentation_EN</Template>
  <TotalTime>0</TotalTime>
  <Words>164</Words>
  <Application>Microsoft Office PowerPoint</Application>
  <PresentationFormat>Произвольный</PresentationFormat>
  <Paragraphs>35</Paragraphs>
  <Slides>4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13" baseType="lpstr">
      <vt:lpstr>Mercedes-Benz white</vt:lpstr>
      <vt:lpstr>Mercedes-Benz black</vt:lpstr>
      <vt:lpstr>2_PPT Master // Mercedes-Benz Vans  // 16x9 // black</vt:lpstr>
      <vt:lpstr>3_PPT Master // Mercedes-Benz Vans  // 16x9 // black</vt:lpstr>
      <vt:lpstr>4_PPT Master // Mercedes-Benz Vans  // 16x9 // black</vt:lpstr>
      <vt:lpstr>5_PPT Master // Mercedes-Benz Vans  // 16x9 // black</vt:lpstr>
      <vt:lpstr>PPT Master // Mercedes-Benz Vans  // 16x9 // black</vt:lpstr>
      <vt:lpstr>6_PPT Master // Mercedes-Benz Vans  // 16x9 // black</vt:lpstr>
      <vt:lpstr>think-cell Slide</vt:lpstr>
      <vt:lpstr>Антимонопольный комплаенс как элемент корпоративного управления АО «Мерседес-Бенц РУС»</vt:lpstr>
      <vt:lpstr>Презентация PowerPoint</vt:lpstr>
      <vt:lpstr>Презентация PowerPoint</vt:lpstr>
      <vt:lpstr>Презентация PowerPoint</vt:lpstr>
    </vt:vector>
  </TitlesOfParts>
  <Company>Daimler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on one line in CorpoA (Headings) 30 pt.</dc:title>
  <dc:creator>Ledeneva, Alena (137)</dc:creator>
  <cp:lastModifiedBy>Егорова Алла Сергеевна</cp:lastModifiedBy>
  <cp:revision>78</cp:revision>
  <dcterms:created xsi:type="dcterms:W3CDTF">2018-08-21T10:43:08Z</dcterms:created>
  <dcterms:modified xsi:type="dcterms:W3CDTF">2018-08-28T10:58:31Z</dcterms:modified>
</cp:coreProperties>
</file>